
<file path=[Content_Types].xml><?xml version="1.0" encoding="utf-8"?>
<Types xmlns="http://schemas.openxmlformats.org/package/2006/content-types"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5.xml" ContentType="application/vnd.openxmlformats-officedocument.presentationml.notesSlide+xml"/>
  <Override PartName="/ppt/tags/tag36.xml" ContentType="application/vnd.openxmlformats-officedocument.presentationml.tags+xml"/>
  <Override PartName="/ppt/notesSlides/notesSlide6.xml" ContentType="application/vnd.openxmlformats-officedocument.presentationml.notesSlide+xml"/>
  <Override PartName="/ppt/tags/tag37.xml" ContentType="application/vnd.openxmlformats-officedocument.presentationml.tags+xml"/>
  <Override PartName="/ppt/notesSlides/notesSlide7.xml" ContentType="application/vnd.openxmlformats-officedocument.presentationml.notesSlide+xml"/>
  <Override PartName="/ppt/tags/tag38.xml" ContentType="application/vnd.openxmlformats-officedocument.presentationml.tags+xml"/>
  <Override PartName="/ppt/notesSlides/notesSlide8.xml" ContentType="application/vnd.openxmlformats-officedocument.presentationml.notesSlide+xml"/>
  <Override PartName="/ppt/tags/tag39.xml" ContentType="application/vnd.openxmlformats-officedocument.presentationml.tags+xml"/>
  <Override PartName="/ppt/notesSlides/notesSlide9.xml" ContentType="application/vnd.openxmlformats-officedocument.presentationml.notesSlide+xml"/>
  <Override PartName="/ppt/tags/tag40.xml" ContentType="application/vnd.openxmlformats-officedocument.presentationml.tags+xml"/>
  <Override PartName="/ppt/notesSlides/notesSlide10.xml" ContentType="application/vnd.openxmlformats-officedocument.presentationml.notesSlide+xml"/>
  <Override PartName="/ppt/tags/tag41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8" r:id="rId1"/>
    <p:sldMasterId id="2147483722" r:id="rId2"/>
  </p:sldMasterIdLst>
  <p:notesMasterIdLst>
    <p:notesMasterId r:id="rId19"/>
  </p:notesMasterIdLst>
  <p:sldIdLst>
    <p:sldId id="257" r:id="rId3"/>
    <p:sldId id="525" r:id="rId4"/>
    <p:sldId id="528" r:id="rId5"/>
    <p:sldId id="511" r:id="rId6"/>
    <p:sldId id="524" r:id="rId7"/>
    <p:sldId id="435" r:id="rId8"/>
    <p:sldId id="512" r:id="rId9"/>
    <p:sldId id="513" r:id="rId10"/>
    <p:sldId id="516" r:id="rId11"/>
    <p:sldId id="514" r:id="rId12"/>
    <p:sldId id="517" r:id="rId13"/>
    <p:sldId id="520" r:id="rId14"/>
    <p:sldId id="467" r:id="rId15"/>
    <p:sldId id="521" r:id="rId16"/>
    <p:sldId id="414" r:id="rId17"/>
    <p:sldId id="518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80" autoAdjust="0"/>
    <p:restoredTop sz="95256" autoAdjust="0"/>
  </p:normalViewPr>
  <p:slideViewPr>
    <p:cSldViewPr snapToGrid="0">
      <p:cViewPr varScale="1">
        <p:scale>
          <a:sx n="82" d="100"/>
          <a:sy n="82" d="100"/>
        </p:scale>
        <p:origin x="1138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09895F-3246-4EF6-BA52-AF7D6DF6ABF3}" type="datetimeFigureOut">
              <a:rPr lang="en-IN" smtClean="0"/>
              <a:t>06-06-2022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960766-4C0B-496C-8D55-88BA660E2A4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745644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TE: To replace a picture, just select and delete it. Then use the Insert Picture icon to replace it with one of your own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3821A9-1C31-4760-BDBC-9A0BA471B1B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D0511"/>
                </a:solidFill>
                <a:effectLst/>
                <a:uLnTx/>
                <a:uFillTx/>
                <a:latin typeface="Cambria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D0511"/>
              </a:solidFill>
              <a:effectLst/>
              <a:uLnTx/>
              <a:uFillTx/>
              <a:latin typeface="Cambri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002292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Get thousands of templates, icons, maps, diagrams and charts with Power-user. Visit www.powerusersoftwares.com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108976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Get thousands of templates, icons, maps, diagrams and charts with Power-user. Visit www.powerusersoftwares.com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873349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Get thousands of templates, icons, maps, diagrams and charts with Power-user. Visit www.powerusersoftwares.com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12383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Get thousands of templates, icons, maps, diagrams and charts with Power-user. Visit www.powerusersoftwares.com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88335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Get thousands of templates, icons, maps, diagrams and charts with Power-user. Visit www.powerusersoftwares.com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95968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Get thousands of templates, icons, maps, diagrams and charts with Power-user. Visit www.powerusersoftwares.com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35025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Get thousands of templates, icons, maps, diagrams and charts with Power-user. Visit www.powerusersoftwares.com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01506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Get thousands of templates, icons, maps, diagrams and charts with Power-user. Visit www.powerusersoftwares.com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71532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Get thousands of templates, icons, maps, diagrams and charts with Power-user. Visit www.powerusersoftwares.com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80432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Get thousands of templates, icons, maps, diagrams and charts with Power-user. Visit www.powerusersoftwares.com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01944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Get thousands of templates, icons, maps, diagrams and charts with Power-user. Visit www.powerusersoftwares.com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8208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C21136-7E23-4FCC-8FA1-70DCD2240285}" type="datetimeFigureOut">
              <a:rPr lang="en-IN" smtClean="0"/>
              <a:t>06-06-2022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16C703-8653-49CB-AD9F-892ACF1DBED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296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C21136-7E23-4FCC-8FA1-70DCD2240285}" type="datetimeFigureOut">
              <a:rPr lang="en-IN" smtClean="0"/>
              <a:t>06-06-2022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16C703-8653-49CB-AD9F-892ACF1DBED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7026463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C21136-7E23-4FCC-8FA1-70DCD2240285}" type="datetimeFigureOut">
              <a:rPr lang="en-IN" smtClean="0"/>
              <a:t>06-06-2022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16C703-8653-49CB-AD9F-892ACF1DBED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365410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203F0E-7A18-4BE8-BB62-3B9C9D441DF7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6/06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854BEA-D865-4B20-9659-51FC551EF13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706090"/>
          </a:xfrm>
          <a:noFill/>
          <a:ln>
            <a:noFill/>
          </a:ln>
        </p:spPr>
        <p:txBody>
          <a:bodyPr>
            <a:normAutofit/>
          </a:bodyPr>
          <a:lstStyle>
            <a:lvl1pPr algn="l">
              <a:defRPr sz="3200">
                <a:solidFill>
                  <a:srgbClr val="FF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379516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6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6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7998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0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399" cap="all" spc="200" baseline="0">
                <a:solidFill>
                  <a:schemeClr val="tx2"/>
                </a:solidFill>
                <a:latin typeface="+mj-lt"/>
              </a:defRPr>
            </a:lvl1pPr>
            <a:lvl2pPr marL="457063" indent="0" algn="ctr">
              <a:buNone/>
              <a:defRPr sz="2399"/>
            </a:lvl2pPr>
            <a:lvl3pPr marL="914126" indent="0" algn="ctr">
              <a:buNone/>
              <a:defRPr sz="2399"/>
            </a:lvl3pPr>
            <a:lvl4pPr marL="1371189" indent="0" algn="ctr">
              <a:buNone/>
              <a:defRPr sz="1999"/>
            </a:lvl4pPr>
            <a:lvl5pPr marL="1828251" indent="0" algn="ctr">
              <a:buNone/>
              <a:defRPr sz="1999"/>
            </a:lvl5pPr>
            <a:lvl6pPr marL="2285314" indent="0" algn="ctr">
              <a:buNone/>
              <a:defRPr sz="1999"/>
            </a:lvl6pPr>
            <a:lvl7pPr marL="2742377" indent="0" algn="ctr">
              <a:buNone/>
              <a:defRPr sz="1999"/>
            </a:lvl7pPr>
            <a:lvl8pPr marL="3199440" indent="0" algn="ctr">
              <a:buNone/>
              <a:defRPr sz="1999"/>
            </a:lvl8pPr>
            <a:lvl9pPr marL="3656503" indent="0" algn="ctr">
              <a:buNone/>
              <a:defRPr sz="1999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55870-F6E5-4131-942C-2EFA6EE5364E}" type="datetime1">
              <a:rPr lang="en-US" smtClean="0"/>
              <a:t>6/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MSL/CSE-2018-2022/HSMC701/PPT/The Passionate Cook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5A965E-3C11-4F28-82DC-E30D63FAC43C}" type="slidenum">
              <a:rPr lang="en-IN" smtClean="0"/>
              <a:t>‹#›</a:t>
            </a:fld>
            <a:endParaRPr lang="en-IN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0138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57EF7-C65E-43C3-A9BD-7245D7AEA544}" type="datetime1">
              <a:rPr lang="en-US" smtClean="0"/>
              <a:t>6/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MSL/CSE-2018-2022/HSMC701/PPT/The Passionate Cook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5A965E-3C11-4F28-82DC-E30D63FAC43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20168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6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6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7998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453128"/>
            <a:ext cx="100584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399" cap="all" spc="200" baseline="0">
                <a:solidFill>
                  <a:schemeClr val="tx2"/>
                </a:solidFill>
                <a:latin typeface="+mj-lt"/>
              </a:defRPr>
            </a:lvl1pPr>
            <a:lvl2pPr marL="457063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671DC0-EC47-4D89-89E5-2C8BDEF9BF53}" type="datetime1">
              <a:rPr lang="en-US" smtClean="0"/>
              <a:t>6/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MSL/CSE-2018-2022/HSMC701/PPT/The Passionate Cook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5A965E-3C11-4F28-82DC-E30D63FAC43C}" type="slidenum">
              <a:rPr lang="en-IN" smtClean="0"/>
              <a:t>‹#›</a:t>
            </a:fld>
            <a:endParaRPr lang="en-IN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4189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5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9" y="1845734"/>
            <a:ext cx="49377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45735"/>
            <a:ext cx="49377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AB1413-E266-4F7A-A897-C9DBB1D77425}" type="datetime1">
              <a:rPr lang="en-US" smtClean="0"/>
              <a:t>6/6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MSL/CSE-2018-2022/HSMC701/PPT/The Passionate Cook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5A965E-3C11-4F28-82DC-E30D63FAC43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71053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5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1999" b="0" cap="all" baseline="0">
                <a:solidFill>
                  <a:schemeClr val="tx2"/>
                </a:solidFill>
              </a:defRPr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582334"/>
            <a:ext cx="4937760" cy="3378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792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1999" b="0" cap="all" baseline="0">
                <a:solidFill>
                  <a:schemeClr val="tx2"/>
                </a:solidFill>
              </a:defRPr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920" y="2582334"/>
            <a:ext cx="4937760" cy="3378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77434B-E5C8-41FA-B181-76692DED6AAE}" type="datetime1">
              <a:rPr lang="en-US" smtClean="0"/>
              <a:t>6/6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MSL/CSE-2018-2022/HSMC701/PPT/The Passionate Cook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5A965E-3C11-4F28-82DC-E30D63FAC43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88475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21EEC0-C767-44F4-96DF-F6BAF92984C4}" type="datetime1">
              <a:rPr lang="en-US" smtClean="0"/>
              <a:t>6/6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MSL/CSE-2018-2022/HSMC701/PPT/The Passionate Cook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5A965E-3C11-4F28-82DC-E30D63FAC43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60710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176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6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F3ABCF-CDC5-4631-88A8-41FB42BA3014}" type="datetime1">
              <a:rPr lang="en-US" smtClean="0"/>
              <a:t>6/6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TMSL/CSE-2018-2022/HSMC701/PPT/The Passionate Cook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5A965E-3C11-4F28-82DC-E30D63FAC43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32896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C21136-7E23-4FCC-8FA1-70DCD2240285}" type="datetimeFigureOut">
              <a:rPr lang="en-IN" smtClean="0"/>
              <a:t>06-06-2022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16C703-8653-49CB-AD9F-892ACF1DBED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98678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7" y="0"/>
            <a:ext cx="405079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594359"/>
            <a:ext cx="3200400" cy="2286000"/>
          </a:xfrm>
        </p:spPr>
        <p:txBody>
          <a:bodyPr anchor="b">
            <a:normAutofit/>
          </a:bodyPr>
          <a:lstStyle>
            <a:lvl1pPr>
              <a:defRPr sz="3599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601" y="731520"/>
            <a:ext cx="6492240" cy="5257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2926080"/>
            <a:ext cx="32004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063" indent="0">
              <a:buNone/>
              <a:defRPr sz="1200"/>
            </a:lvl2pPr>
            <a:lvl3pPr marL="914126" indent="0">
              <a:buNone/>
              <a:defRPr sz="1000"/>
            </a:lvl3pPr>
            <a:lvl4pPr marL="1371189" indent="0">
              <a:buNone/>
              <a:defRPr sz="900"/>
            </a:lvl4pPr>
            <a:lvl5pPr marL="1828251" indent="0">
              <a:buNone/>
              <a:defRPr sz="900"/>
            </a:lvl5pPr>
            <a:lvl6pPr marL="2285314" indent="0">
              <a:buNone/>
              <a:defRPr sz="900"/>
            </a:lvl6pPr>
            <a:lvl7pPr marL="2742377" indent="0">
              <a:buNone/>
              <a:defRPr sz="900"/>
            </a:lvl7pPr>
            <a:lvl8pPr marL="3199440" indent="0">
              <a:buNone/>
              <a:defRPr sz="900"/>
            </a:lvl8pPr>
            <a:lvl9pPr marL="365650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5512" y="6459787"/>
            <a:ext cx="2618510" cy="365125"/>
          </a:xfrm>
        </p:spPr>
        <p:txBody>
          <a:bodyPr/>
          <a:lstStyle>
            <a:lvl1pPr algn="l">
              <a:defRPr/>
            </a:lvl1pPr>
          </a:lstStyle>
          <a:p>
            <a:fld id="{2BCA05B5-4B47-46C1-AC56-89A3AE8A028C}" type="datetime1">
              <a:rPr lang="en-US" smtClean="0"/>
              <a:t>6/6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00600" y="6459787"/>
            <a:ext cx="46482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MSL/CSE-2018-2022/HSMC701/PPT/The Passionate Cook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25A965E-3C11-4F28-82DC-E30D63FAC43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61444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" y="4953000"/>
            <a:ext cx="12188825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6" y="491507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5074920"/>
            <a:ext cx="10113264" cy="822960"/>
          </a:xfrm>
        </p:spPr>
        <p:txBody>
          <a:bodyPr lIns="91440" tIns="0" rIns="91440" bIns="0" anchor="b">
            <a:noAutofit/>
          </a:bodyPr>
          <a:lstStyle>
            <a:lvl1pPr>
              <a:defRPr sz="3599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" y="0"/>
            <a:ext cx="12191985" cy="4915076"/>
          </a:xfrm>
          <a:blipFill>
            <a:blip r:embed="rId2"/>
            <a:stretch>
              <a:fillRect/>
            </a:stretch>
          </a:blipFill>
        </p:spPr>
        <p:txBody>
          <a:bodyPr lIns="457200" tIns="457200" anchor="t"/>
          <a:lstStyle>
            <a:lvl1pPr marL="0" indent="0">
              <a:buNone/>
              <a:defRPr sz="3199">
                <a:solidFill>
                  <a:schemeClr val="bg1"/>
                </a:solidFill>
              </a:defRPr>
            </a:lvl1pPr>
            <a:lvl2pPr marL="457063" indent="0">
              <a:buNone/>
              <a:defRPr sz="2799"/>
            </a:lvl2pPr>
            <a:lvl3pPr marL="914126" indent="0">
              <a:buNone/>
              <a:defRPr sz="2399"/>
            </a:lvl3pPr>
            <a:lvl4pPr marL="1371189" indent="0">
              <a:buNone/>
              <a:defRPr sz="1999"/>
            </a:lvl4pPr>
            <a:lvl5pPr marL="1828251" indent="0">
              <a:buNone/>
              <a:defRPr sz="1999"/>
            </a:lvl5pPr>
            <a:lvl6pPr marL="2285314" indent="0">
              <a:buNone/>
              <a:defRPr sz="1999"/>
            </a:lvl6pPr>
            <a:lvl7pPr marL="2742377" indent="0">
              <a:buNone/>
              <a:defRPr sz="1999"/>
            </a:lvl7pPr>
            <a:lvl8pPr marL="3199440" indent="0">
              <a:buNone/>
              <a:defRPr sz="1999"/>
            </a:lvl8pPr>
            <a:lvl9pPr marL="3656503" indent="0">
              <a:buNone/>
              <a:defRPr sz="1999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80" y="5907023"/>
            <a:ext cx="10113264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063" indent="0">
              <a:buNone/>
              <a:defRPr sz="1200"/>
            </a:lvl2pPr>
            <a:lvl3pPr marL="914126" indent="0">
              <a:buNone/>
              <a:defRPr sz="1000"/>
            </a:lvl3pPr>
            <a:lvl4pPr marL="1371189" indent="0">
              <a:buNone/>
              <a:defRPr sz="900"/>
            </a:lvl4pPr>
            <a:lvl5pPr marL="1828251" indent="0">
              <a:buNone/>
              <a:defRPr sz="900"/>
            </a:lvl5pPr>
            <a:lvl6pPr marL="2285314" indent="0">
              <a:buNone/>
              <a:defRPr sz="900"/>
            </a:lvl6pPr>
            <a:lvl7pPr marL="2742377" indent="0">
              <a:buNone/>
              <a:defRPr sz="900"/>
            </a:lvl7pPr>
            <a:lvl8pPr marL="3199440" indent="0">
              <a:buNone/>
              <a:defRPr sz="900"/>
            </a:lvl8pPr>
            <a:lvl9pPr marL="365650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52FD90-FB1E-4C7A-9457-52AAD134E103}" type="datetime1">
              <a:rPr lang="en-US" smtClean="0"/>
              <a:t>6/6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MSL/CSE-2018-2022/HSMC701/PPT/The Passionate Cook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5A965E-3C11-4F28-82DC-E30D63FAC43C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2420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45DEA0-30A3-4B4A-BE62-55A51B7395D6}" type="datetime1">
              <a:rPr lang="en-US" smtClean="0"/>
              <a:t>6/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MSL/CSE-2018-2022/HSMC701/PPT/The Passionate Cook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5A965E-3C11-4F28-82DC-E30D63FAC43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13186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6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6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414780"/>
            <a:ext cx="2628900" cy="5757421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414778"/>
            <a:ext cx="7734300" cy="5757422"/>
          </a:xfrm>
        </p:spPr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EE87A-D7CB-49F5-BE9C-F5790A3BDC1A}" type="datetime1">
              <a:rPr lang="en-US" smtClean="0"/>
              <a:t>6/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MSL/CSE-2018-2022/HSMC701/PPT/The Passionate Cook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5A965E-3C11-4F28-82DC-E30D63FAC43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55803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2809" y="4843464"/>
            <a:ext cx="9146384" cy="947736"/>
          </a:xfrm>
        </p:spPr>
        <p:txBody>
          <a:bodyPr>
            <a:normAutofit/>
          </a:bodyPr>
          <a:lstStyle>
            <a:lvl1pPr algn="ctr">
              <a:lnSpc>
                <a:spcPct val="80000"/>
              </a:lnSpc>
              <a:defRPr sz="5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2810" y="5791200"/>
            <a:ext cx="9146382" cy="457200"/>
          </a:xfrm>
        </p:spPr>
        <p:txBody>
          <a:bodyPr wrap="square">
            <a:normAutofit/>
          </a:bodyPr>
          <a:lstStyle>
            <a:lvl1pPr marL="0" indent="0" algn="ctr">
              <a:spcBef>
                <a:spcPts val="0"/>
              </a:spcBef>
              <a:buNone/>
              <a:defRPr sz="240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1" name="Picture Placeholder 10" descr="An empty placeholder to add an image. Click on the placeholder and select the image that you wish to add."/>
          <p:cNvSpPr>
            <a:spLocks noGrp="1"/>
          </p:cNvSpPr>
          <p:nvPr>
            <p:ph type="pic" sz="quarter" idx="13"/>
          </p:nvPr>
        </p:nvSpPr>
        <p:spPr bwMode="gray">
          <a:xfrm>
            <a:off x="1634976" y="917753"/>
            <a:ext cx="2593063" cy="3314700"/>
          </a:xfrm>
          <a:solidFill>
            <a:schemeClr val="bg1">
              <a:lumMod val="95000"/>
            </a:schemeClr>
          </a:solidFill>
          <a:ln w="152400">
            <a:solidFill>
              <a:schemeClr val="bg1"/>
            </a:solidFill>
            <a:miter lim="800000"/>
          </a:ln>
          <a:effectLst>
            <a:outerShdw blurRad="88900" sx="101000" sy="101000" algn="tl" rotWithShape="0">
              <a:schemeClr val="accent1">
                <a:lumMod val="50000"/>
                <a:alpha val="15000"/>
              </a:schemeClr>
            </a:outerShdw>
          </a:effectLst>
        </p:spPr>
        <p:txBody>
          <a:bodyPr tIns="457200"/>
          <a:lstStyle>
            <a:lvl1pPr marL="4572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2" name="Picture Placeholder 10" descr="An empty placeholder to add an image. Click on the placeholder and select the image that you wish to add."/>
          <p:cNvSpPr>
            <a:spLocks noGrp="1"/>
          </p:cNvSpPr>
          <p:nvPr>
            <p:ph type="pic" sz="quarter" idx="14"/>
          </p:nvPr>
        </p:nvSpPr>
        <p:spPr bwMode="gray">
          <a:xfrm>
            <a:off x="4788754" y="917753"/>
            <a:ext cx="2593063" cy="3314700"/>
          </a:xfrm>
          <a:solidFill>
            <a:schemeClr val="bg1">
              <a:lumMod val="95000"/>
            </a:schemeClr>
          </a:solidFill>
          <a:ln w="152400">
            <a:solidFill>
              <a:schemeClr val="bg1"/>
            </a:solidFill>
            <a:miter lim="800000"/>
          </a:ln>
          <a:effectLst>
            <a:outerShdw blurRad="88900" sx="101000" sy="101000" algn="tl" rotWithShape="0">
              <a:schemeClr val="accent1">
                <a:lumMod val="50000"/>
                <a:alpha val="15000"/>
              </a:schemeClr>
            </a:outerShdw>
          </a:effectLst>
        </p:spPr>
        <p:txBody>
          <a:bodyPr tIns="457200"/>
          <a:lstStyle>
            <a:lvl1pPr marL="4572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3" name="Picture Placeholder 10" descr="An empty placeholder to add an image. Click on the placeholder and select the image that you wish to add."/>
          <p:cNvSpPr>
            <a:spLocks noGrp="1"/>
          </p:cNvSpPr>
          <p:nvPr>
            <p:ph type="pic" sz="quarter" idx="15"/>
          </p:nvPr>
        </p:nvSpPr>
        <p:spPr bwMode="gray">
          <a:xfrm>
            <a:off x="7942532" y="917754"/>
            <a:ext cx="2593063" cy="3314701"/>
          </a:xfrm>
          <a:solidFill>
            <a:schemeClr val="bg1">
              <a:lumMod val="95000"/>
            </a:schemeClr>
          </a:solidFill>
          <a:ln w="152400">
            <a:solidFill>
              <a:schemeClr val="bg1"/>
            </a:solidFill>
            <a:miter lim="800000"/>
          </a:ln>
          <a:effectLst>
            <a:outerShdw blurRad="88900" sx="101000" sy="101000" algn="tl" rotWithShape="0">
              <a:schemeClr val="accent1">
                <a:lumMod val="50000"/>
                <a:alpha val="15000"/>
              </a:schemeClr>
            </a:outerShdw>
          </a:effectLst>
        </p:spPr>
        <p:txBody>
          <a:bodyPr tIns="457200"/>
          <a:lstStyle>
            <a:lvl1pPr marL="4572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TMSL/CSE-2018-2022/HSMC701/PPT/The Passionate Cook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370DB8-D089-42E4-A4C8-3025223C4A64}" type="datetime1">
              <a:rPr lang="en-US" smtClean="0"/>
              <a:t>6/6/2022</a:t>
            </a:fld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5A965E-3C11-4F28-82DC-E30D63FAC43C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76171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and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96392" y="319088"/>
            <a:ext cx="7672800" cy="114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4" name="Picture Placeholder 13" descr="An empty placeholder to add an image. Click on the placeholder and select the image that you wish to add."/>
          <p:cNvSpPr>
            <a:spLocks noGrp="1"/>
          </p:cNvSpPr>
          <p:nvPr>
            <p:ph type="pic" sz="quarter" idx="13"/>
          </p:nvPr>
        </p:nvSpPr>
        <p:spPr bwMode="gray">
          <a:xfrm rot="180000">
            <a:off x="357508" y="280969"/>
            <a:ext cx="1446534" cy="1965874"/>
          </a:xfr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  <a:miter lim="800000"/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txBody>
          <a:bodyPr tIns="182880">
            <a:normAutofit/>
          </a:bodyPr>
          <a:lstStyle>
            <a:lvl1pPr marL="4572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96392" y="1643063"/>
            <a:ext cx="7672800" cy="45291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TMSL/CSE-2018-2022/HSMC701/PPT/The Passionate Cook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6AE9F1-22C7-49FF-AD00-09C41C0AE35F}" type="datetime1">
              <a:rPr lang="en-US" smtClean="0"/>
              <a:t>6/6/2022</a:t>
            </a:fld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5A965E-3C11-4F28-82DC-E30D63FAC43C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67250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C21136-7E23-4FCC-8FA1-70DCD2240285}" type="datetimeFigureOut">
              <a:rPr lang="en-IN" smtClean="0"/>
              <a:t>06-06-2022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16C703-8653-49CB-AD9F-892ACF1DBED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733128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C21136-7E23-4FCC-8FA1-70DCD2240285}" type="datetimeFigureOut">
              <a:rPr lang="en-IN" smtClean="0"/>
              <a:t>06-06-2022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16C703-8653-49CB-AD9F-892ACF1DBED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492976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C21136-7E23-4FCC-8FA1-70DCD2240285}" type="datetimeFigureOut">
              <a:rPr lang="en-IN" smtClean="0"/>
              <a:t>06-06-2022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16C703-8653-49CB-AD9F-892ACF1DBED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186933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C21136-7E23-4FCC-8FA1-70DCD2240285}" type="datetimeFigureOut">
              <a:rPr lang="en-IN" smtClean="0"/>
              <a:t>06-06-2022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16C703-8653-49CB-AD9F-892ACF1DBED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84740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C21136-7E23-4FCC-8FA1-70DCD2240285}" type="datetimeFigureOut">
              <a:rPr lang="en-IN" smtClean="0"/>
              <a:t>06-06-2022</a:t>
            </a:fld>
            <a:endParaRPr lang="en-I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16C703-8653-49CB-AD9F-892ACF1DBED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844212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C21136-7E23-4FCC-8FA1-70DCD2240285}" type="datetimeFigureOut">
              <a:rPr lang="en-IN" smtClean="0"/>
              <a:t>06-06-2022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16C703-8653-49CB-AD9F-892ACF1DBED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049784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C21136-7E23-4FCC-8FA1-70DCD2240285}" type="datetimeFigureOut">
              <a:rPr lang="en-IN" smtClean="0"/>
              <a:t>06-06-2022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16C703-8653-49CB-AD9F-892ACF1DBED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279117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C21136-7E23-4FCC-8FA1-70DCD2240285}" type="datetimeFigureOut">
              <a:rPr lang="en-IN" smtClean="0"/>
              <a:t>06-06-2022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116C703-8653-49CB-AD9F-892ACF1DBED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81240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1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0" y="6334316"/>
            <a:ext cx="12192001" cy="659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7280" y="286605"/>
            <a:ext cx="100584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97281" y="6459787"/>
            <a:ext cx="247227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fld id="{8DD1B698-D346-400F-96D9-B3215603E887}" type="datetime1">
              <a:rPr lang="en-US" smtClean="0"/>
              <a:t>6/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86185" y="6459787"/>
            <a:ext cx="4822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TMSL/CSE-2018-2022/HSMC701/PPT/The Passionate Cook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00459" y="6459787"/>
            <a:ext cx="1312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rgbClr val="FFFFFF"/>
                </a:solidFill>
              </a:defRPr>
            </a:lvl1pPr>
          </a:lstStyle>
          <a:p>
            <a:fld id="{F25A965E-3C11-4F28-82DC-E30D63FAC43C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1193532" y="1737845"/>
            <a:ext cx="996696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39222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  <p:sldLayoutId id="2147483734" r:id="rId12"/>
    <p:sldLayoutId id="2147483735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126" rtl="0" eaLnBrk="1" latinLnBrk="0" hangingPunct="1">
        <a:lnSpc>
          <a:spcPct val="85000"/>
        </a:lnSpc>
        <a:spcBef>
          <a:spcPct val="0"/>
        </a:spcBef>
        <a:buNone/>
        <a:defRPr sz="4799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13" indent="-91413" algn="l" defTabSz="914126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1999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3933" indent="-182825" algn="l" defTabSz="914126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799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758" indent="-182825" algn="l" defTabSz="914126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583" indent="-182825" algn="l" defTabSz="914126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408" indent="-182825" algn="l" defTabSz="914126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099670" indent="-228531" algn="l" defTabSz="914126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299610" indent="-228531" algn="l" defTabSz="914126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499550" indent="-228531" algn="l" defTabSz="914126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699490" indent="-228531" algn="l" defTabSz="914126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39">
          <p15:clr>
            <a:srgbClr val="F26B43"/>
          </p15:clr>
        </p15:guide>
        <p15:guide id="2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3.png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9.xml"/><Relationship Id="rId6" Type="http://schemas.microsoft.com/office/2007/relationships/hdphoto" Target="../media/hdphoto1.wdp"/><Relationship Id="rId5" Type="http://schemas.openxmlformats.org/officeDocument/2006/relationships/image" Target="../media/image2.png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0.xml"/><Relationship Id="rId6" Type="http://schemas.microsoft.com/office/2007/relationships/hdphoto" Target="../media/hdphoto1.wdp"/><Relationship Id="rId5" Type="http://schemas.openxmlformats.org/officeDocument/2006/relationships/image" Target="../media/image2.png"/><Relationship Id="rId4" Type="http://schemas.openxmlformats.org/officeDocument/2006/relationships/image" Target="../media/image13.gi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microsoft.com/office/2007/relationships/hdphoto" Target="../media/hdphoto1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.png"/><Relationship Id="rId5" Type="http://schemas.openxmlformats.org/officeDocument/2006/relationships/image" Target="../media/image17.png"/><Relationship Id="rId4" Type="http://schemas.openxmlformats.org/officeDocument/2006/relationships/image" Target="../media/image16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1.xml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Relationship Id="rId4" Type="http://schemas.microsoft.com/office/2007/relationships/hdphoto" Target="../media/hdphoto1.wdp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.xml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5.jpe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3" Type="http://schemas.openxmlformats.org/officeDocument/2006/relationships/tags" Target="../tags/tag5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microsoft.com/office/2007/relationships/hdphoto" Target="../media/hdphoto1.wdp"/><Relationship Id="rId5" Type="http://schemas.openxmlformats.org/officeDocument/2006/relationships/tags" Target="../tags/tag7.xml"/><Relationship Id="rId10" Type="http://schemas.openxmlformats.org/officeDocument/2006/relationships/image" Target="../media/image2.png"/><Relationship Id="rId4" Type="http://schemas.openxmlformats.org/officeDocument/2006/relationships/tags" Target="../tags/tag6.xml"/><Relationship Id="rId9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tags" Target="../tags/tag21.xml"/><Relationship Id="rId18" Type="http://schemas.openxmlformats.org/officeDocument/2006/relationships/tags" Target="../tags/tag26.xml"/><Relationship Id="rId26" Type="http://schemas.openxmlformats.org/officeDocument/2006/relationships/tags" Target="../tags/tag34.xml"/><Relationship Id="rId3" Type="http://schemas.openxmlformats.org/officeDocument/2006/relationships/tags" Target="../tags/tag11.xml"/><Relationship Id="rId21" Type="http://schemas.openxmlformats.org/officeDocument/2006/relationships/tags" Target="../tags/tag29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tags" Target="../tags/tag25.xml"/><Relationship Id="rId25" Type="http://schemas.openxmlformats.org/officeDocument/2006/relationships/tags" Target="../tags/tag33.xml"/><Relationship Id="rId2" Type="http://schemas.openxmlformats.org/officeDocument/2006/relationships/tags" Target="../tags/tag10.xml"/><Relationship Id="rId16" Type="http://schemas.openxmlformats.org/officeDocument/2006/relationships/tags" Target="../tags/tag24.xml"/><Relationship Id="rId20" Type="http://schemas.openxmlformats.org/officeDocument/2006/relationships/tags" Target="../tags/tag28.xml"/><Relationship Id="rId29" Type="http://schemas.openxmlformats.org/officeDocument/2006/relationships/notesSlide" Target="../notesSlides/notesSlide5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24" Type="http://schemas.openxmlformats.org/officeDocument/2006/relationships/tags" Target="../tags/tag32.xml"/><Relationship Id="rId32" Type="http://schemas.microsoft.com/office/2007/relationships/hdphoto" Target="../media/hdphoto1.wdp"/><Relationship Id="rId5" Type="http://schemas.openxmlformats.org/officeDocument/2006/relationships/tags" Target="../tags/tag13.xml"/><Relationship Id="rId15" Type="http://schemas.openxmlformats.org/officeDocument/2006/relationships/tags" Target="../tags/tag23.xml"/><Relationship Id="rId23" Type="http://schemas.openxmlformats.org/officeDocument/2006/relationships/tags" Target="../tags/tag31.xml"/><Relationship Id="rId28" Type="http://schemas.openxmlformats.org/officeDocument/2006/relationships/slideLayout" Target="../slideLayouts/slideLayout12.xml"/><Relationship Id="rId10" Type="http://schemas.openxmlformats.org/officeDocument/2006/relationships/tags" Target="../tags/tag18.xml"/><Relationship Id="rId19" Type="http://schemas.openxmlformats.org/officeDocument/2006/relationships/tags" Target="../tags/tag27.xml"/><Relationship Id="rId31" Type="http://schemas.openxmlformats.org/officeDocument/2006/relationships/image" Target="../media/image2.png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tags" Target="../tags/tag22.xml"/><Relationship Id="rId22" Type="http://schemas.openxmlformats.org/officeDocument/2006/relationships/tags" Target="../tags/tag30.xml"/><Relationship Id="rId27" Type="http://schemas.openxmlformats.org/officeDocument/2006/relationships/tags" Target="../tags/tag35.xml"/><Relationship Id="rId30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6.xml"/><Relationship Id="rId5" Type="http://schemas.openxmlformats.org/officeDocument/2006/relationships/image" Target="../media/image8.png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7.xml"/><Relationship Id="rId6" Type="http://schemas.microsoft.com/office/2007/relationships/hdphoto" Target="../media/hdphoto1.wdp"/><Relationship Id="rId5" Type="http://schemas.openxmlformats.org/officeDocument/2006/relationships/image" Target="../media/image2.png"/><Relationship Id="rId4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8.xml"/><Relationship Id="rId6" Type="http://schemas.microsoft.com/office/2007/relationships/hdphoto" Target="../media/hdphoto1.wdp"/><Relationship Id="rId5" Type="http://schemas.openxmlformats.org/officeDocument/2006/relationships/image" Target="../media/image2.png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1524000" y="4065973"/>
            <a:ext cx="9144002" cy="763479"/>
          </a:xfrm>
        </p:spPr>
        <p:txBody>
          <a:bodyPr>
            <a:noAutofit/>
          </a:bodyPr>
          <a:lstStyle/>
          <a:p>
            <a:r>
              <a:rPr lang="en-US" sz="4000" dirty="0">
                <a:latin typeface="Aharoni" panose="02010803020104030203" pitchFamily="2" charset="-79"/>
                <a:cs typeface="Aharoni" panose="02010803020104030203" pitchFamily="2" charset="-79"/>
              </a:rPr>
              <a:t>Language Translation-Transformer Based Model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1390439" y="5086905"/>
            <a:ext cx="9144000" cy="844096"/>
          </a:xfrm>
        </p:spPr>
        <p:txBody>
          <a:bodyPr>
            <a:normAutofit/>
          </a:bodyPr>
          <a:lstStyle/>
          <a:p>
            <a:endParaRPr lang="en-US" sz="20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C71BF995-F393-465C-9339-7E190FC19855}" type="datetime1">
              <a:rPr lang="en-US">
                <a:latin typeface="Calibri" panose="020F0502020204030204"/>
              </a:rPr>
              <a:pPr defTabSz="457200"/>
              <a:t>6/6/2022</a:t>
            </a:fld>
            <a:endParaRPr lang="en-US">
              <a:latin typeface="Calibri" panose="020F0502020204030204"/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F25A965E-3C11-4F28-82DC-E30D63FAC43C}" type="slidenum">
              <a:rPr lang="en-IN">
                <a:latin typeface="Calibri" panose="020F0502020204030204"/>
              </a:rPr>
              <a:pPr defTabSz="457200"/>
              <a:t>1</a:t>
            </a:fld>
            <a:endParaRPr lang="en-IN">
              <a:latin typeface="Calibri" panose="020F0502020204030204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645" b="100000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024860" y="12659"/>
            <a:ext cx="1159691" cy="982252"/>
          </a:xfrm>
          <a:prstGeom prst="rect">
            <a:avLst/>
          </a:prstGeom>
        </p:spPr>
      </p:pic>
      <p:pic>
        <p:nvPicPr>
          <p:cNvPr id="5122" name="Picture 2">
            <a:extLst>
              <a:ext uri="{FF2B5EF4-FFF2-40B4-BE49-F238E27FC236}">
                <a16:creationId xmlns:a16="http://schemas.microsoft.com/office/drawing/2014/main" id="{0BC8E18C-3074-446D-A847-D11CFF05BD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678" y="926999"/>
            <a:ext cx="10734675" cy="2800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7409B05E-2396-4506-B72F-F0162C187C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814885"/>
              </p:ext>
            </p:extLst>
          </p:nvPr>
        </p:nvGraphicFramePr>
        <p:xfrm>
          <a:off x="2428471" y="4717520"/>
          <a:ext cx="8128000" cy="1854200"/>
        </p:xfrm>
        <a:graphic>
          <a:graphicData uri="http://schemas.openxmlformats.org/drawingml/2006/table">
            <a:tbl>
              <a:tblPr firstRow="1" bandRow="1">
                <a:tableStyleId>{68D230F3-CF80-4859-8CE7-A43EE81993B5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2408627526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4020837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IN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RO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460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IN" dirty="0"/>
                        <a:t>KUMAR SAURAB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300011809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642657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IN" dirty="0"/>
                        <a:t>AYUSHI KUMAR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30001181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982352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IN" dirty="0"/>
                        <a:t>ABHIJEET KARMAK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3000118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01414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IN" dirty="0"/>
                        <a:t>ABHAY KUMAR CHOUBE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300011814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718859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73818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7584496" y="142333"/>
            <a:ext cx="3733209" cy="685800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23000">
                <a:srgbClr val="FBFBFB">
                  <a:alpha val="99000"/>
                </a:srgbClr>
              </a:gs>
              <a:gs pos="52000">
                <a:srgbClr val="F7F7F7">
                  <a:lumMod val="100000"/>
                  <a:alpha val="80000"/>
                </a:srgbClr>
              </a:gs>
              <a:gs pos="77000">
                <a:srgbClr val="F5F5F5">
                  <a:alpha val="40000"/>
                </a:srgbClr>
              </a:gs>
              <a:gs pos="100000">
                <a:schemeClr val="bg1">
                  <a:lumMod val="95000"/>
                  <a:alpha val="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2117558" y="274638"/>
            <a:ext cx="10796337" cy="706090"/>
          </a:xfrm>
        </p:spPr>
        <p:txBody>
          <a:bodyPr>
            <a:noAutofit/>
          </a:bodyPr>
          <a:lstStyle/>
          <a:p>
            <a:pPr algn="ctr"/>
            <a:endParaRPr lang="en-US" sz="5400" b="1" dirty="0">
              <a:latin typeface="Bahnschrift Condensed" panose="020B0502040204020203" pitchFamily="34" charset="0"/>
            </a:endParaRPr>
          </a:p>
        </p:txBody>
      </p:sp>
      <p:pic>
        <p:nvPicPr>
          <p:cNvPr id="7172" name="Picture 4">
            <a:extLst>
              <a:ext uri="{FF2B5EF4-FFF2-40B4-BE49-F238E27FC236}">
                <a16:creationId xmlns:a16="http://schemas.microsoft.com/office/drawing/2014/main" id="{5B162CA1-432A-4314-AF43-8716F786B6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1621" y="142333"/>
            <a:ext cx="5911516" cy="6033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D9BCE82-8FB5-426A-9163-49A6B40B2862}"/>
              </a:ext>
            </a:extLst>
          </p:cNvPr>
          <p:cNvSpPr txBox="1"/>
          <p:nvPr/>
        </p:nvSpPr>
        <p:spPr>
          <a:xfrm>
            <a:off x="1251284" y="1491916"/>
            <a:ext cx="475648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en-IN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trix calculation of self-Attention</a:t>
            </a:r>
          </a:p>
          <a:p>
            <a:pPr algn="l" fontAlgn="base"/>
            <a:endParaRPr lang="en-US" b="1" i="0" dirty="0">
              <a:solidFill>
                <a:srgbClr val="222222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l" fontAlgn="base"/>
            <a:r>
              <a:rPr lang="en-US" b="1" i="0" dirty="0">
                <a:solidFill>
                  <a:srgbClr val="22222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Step 2:-</a:t>
            </a:r>
          </a:p>
          <a:p>
            <a:pPr algn="l" fontAlgn="base"/>
            <a:endParaRPr lang="en-US" b="1" i="0" dirty="0">
              <a:solidFill>
                <a:srgbClr val="222222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l" fontAlgn="base"/>
            <a:r>
              <a:rPr lang="en-US" b="1" i="0" dirty="0">
                <a:solidFill>
                  <a:srgbClr val="22222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inally</a:t>
            </a:r>
            <a:r>
              <a:rPr lang="en-US" b="0" i="0" dirty="0">
                <a:solidFill>
                  <a:srgbClr val="22222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, since we’re dealing with matrices, </a:t>
            </a:r>
          </a:p>
          <a:p>
            <a:pPr algn="l" fontAlgn="base"/>
            <a:r>
              <a:rPr lang="en-US" b="0" i="0" dirty="0">
                <a:solidFill>
                  <a:srgbClr val="22222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we can condense steps two through six in one formula to calculate the outputs of the self-attention layer.</a:t>
            </a:r>
          </a:p>
          <a:p>
            <a:br>
              <a:rPr lang="en-US" dirty="0"/>
            </a:br>
            <a:endParaRPr lang="en-I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C0BE27B-45CA-467F-5572-9EEBFA35D01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645" b="100000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024860" y="12659"/>
            <a:ext cx="1159691" cy="9822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775644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8105704" y="133189"/>
            <a:ext cx="3733209" cy="685800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23000">
                <a:srgbClr val="FBFBFB">
                  <a:alpha val="99000"/>
                </a:srgbClr>
              </a:gs>
              <a:gs pos="52000">
                <a:srgbClr val="F7F7F7">
                  <a:lumMod val="100000"/>
                  <a:alpha val="80000"/>
                </a:srgbClr>
              </a:gs>
              <a:gs pos="77000">
                <a:srgbClr val="F5F5F5">
                  <a:alpha val="40000"/>
                </a:srgbClr>
              </a:gs>
              <a:gs pos="100000">
                <a:schemeClr val="bg1">
                  <a:lumMod val="95000"/>
                  <a:alpha val="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2117558" y="274638"/>
            <a:ext cx="10796337" cy="706090"/>
          </a:xfrm>
        </p:spPr>
        <p:txBody>
          <a:bodyPr>
            <a:noAutofit/>
          </a:bodyPr>
          <a:lstStyle/>
          <a:p>
            <a:pPr algn="ctr"/>
            <a:r>
              <a:rPr lang="en-US" sz="5400" b="1" dirty="0">
                <a:latin typeface="Bahnschrift Condensed" panose="020B0502040204020203" pitchFamily="34" charset="0"/>
              </a:rPr>
              <a:t>Decode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781E44B-8653-4E9F-A5F8-D44AB2563B8E}"/>
              </a:ext>
            </a:extLst>
          </p:cNvPr>
          <p:cNvSpPr txBox="1"/>
          <p:nvPr/>
        </p:nvSpPr>
        <p:spPr>
          <a:xfrm>
            <a:off x="721895" y="1620253"/>
            <a:ext cx="438960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br>
              <a:rPr lang="en-US" dirty="0"/>
            </a:br>
            <a:br>
              <a:rPr lang="en-US" dirty="0"/>
            </a:br>
            <a:endParaRPr lang="en-IN" dirty="0"/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4D684519-1F08-44C0-942B-A27CA71582B6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2453" y="817721"/>
            <a:ext cx="7009547" cy="5222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3B41897-2D45-1F91-6207-4C01C9FD758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645" b="100000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024860" y="12659"/>
            <a:ext cx="1159691" cy="9822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7267516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35BB56-5A8B-E779-45B7-2F14152264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Tools Used:-</a:t>
            </a:r>
          </a:p>
        </p:txBody>
      </p:sp>
      <p:pic>
        <p:nvPicPr>
          <p:cNvPr id="1026" name="Picture 2" descr="python™">
            <a:extLst>
              <a:ext uri="{FF2B5EF4-FFF2-40B4-BE49-F238E27FC236}">
                <a16:creationId xmlns:a16="http://schemas.microsoft.com/office/drawing/2014/main" id="{B5CCB5BC-3965-51F7-2DA3-EF99030CB9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3210" y="1351810"/>
            <a:ext cx="4718297" cy="156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spaCy - Wikipedia">
            <a:extLst>
              <a:ext uri="{FF2B5EF4-FFF2-40B4-BE49-F238E27FC236}">
                <a16:creationId xmlns:a16="http://schemas.microsoft.com/office/drawing/2014/main" id="{3161456C-8DC3-360F-9484-BAC0E93082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5584" y="1439755"/>
            <a:ext cx="4383206" cy="156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How to Install PyTorch on Ubuntu Linux - ExpertVM VPS Dedicated GPU">
            <a:extLst>
              <a:ext uri="{FF2B5EF4-FFF2-40B4-BE49-F238E27FC236}">
                <a16:creationId xmlns:a16="http://schemas.microsoft.com/office/drawing/2014/main" id="{24E615EB-2863-CA0D-9A93-2E5F41CD28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3260" y="4183140"/>
            <a:ext cx="2895600" cy="1581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torchtext · spaCy Universe">
            <a:extLst>
              <a:ext uri="{FF2B5EF4-FFF2-40B4-BE49-F238E27FC236}">
                <a16:creationId xmlns:a16="http://schemas.microsoft.com/office/drawing/2014/main" id="{ACA20CD9-AD7B-A4E0-993D-F96798A6BE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5797" y="3621165"/>
            <a:ext cx="2143125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08BD3D3-7B71-1E3A-B51F-BFDDB6C9F1FC}"/>
              </a:ext>
            </a:extLst>
          </p:cNvPr>
          <p:cNvSpPr txBox="1"/>
          <p:nvPr/>
        </p:nvSpPr>
        <p:spPr>
          <a:xfrm>
            <a:off x="7888642" y="6072326"/>
            <a:ext cx="2143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Torch-tex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2310AD9-14D0-79F3-359A-18978F9A45E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645" b="100000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024860" y="12659"/>
            <a:ext cx="1159691" cy="982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055833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3207798" cy="1143000"/>
          </a:xfrm>
        </p:spPr>
        <p:txBody>
          <a:bodyPr/>
          <a:lstStyle/>
          <a:p>
            <a:r>
              <a:rPr lang="en-US" b="1" dirty="0">
                <a:solidFill>
                  <a:srgbClr val="FF0000"/>
                </a:solidFill>
                <a:latin typeface="Bahnschrift Condensed" panose="020B0502040204020203" pitchFamily="34" charset="0"/>
              </a:rPr>
              <a:t>Modules</a:t>
            </a:r>
          </a:p>
        </p:txBody>
      </p:sp>
      <p:sp>
        <p:nvSpPr>
          <p:cNvPr id="3" name="Rectangle 2"/>
          <p:cNvSpPr/>
          <p:nvPr/>
        </p:nvSpPr>
        <p:spPr>
          <a:xfrm>
            <a:off x="4170218" y="0"/>
            <a:ext cx="8021782" cy="685800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0" tIns="45720" rIns="720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742950" lvl="1" indent="-285750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IN" sz="1400" dirty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e dataset which are using has been taken from multi30k dataset for which we will using torchtext module from Pytorch.</a:t>
            </a:r>
          </a:p>
          <a:p>
            <a:pPr marL="742950" lvl="1" indent="-285750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IN" sz="1400" dirty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Now , we will download the dataset and tokenizes into raw text , build vocabulary and convert tokens into tensors.</a:t>
            </a:r>
          </a:p>
          <a:p>
            <a:pPr marL="742950" lvl="1" indent="-285750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IN" sz="1400" dirty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en we will use the Pytorch Data loader module for combining dataset and sampler .</a:t>
            </a:r>
          </a:p>
          <a:p>
            <a:pPr marL="742950" lvl="1" indent="-285750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IN" sz="1400" dirty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After this we will design transformer. Here , encoder processes the input sequence by propagating it through a multi-head attention and feed-forward network layers . The output from this encoder is referred to as a memory below and is fed to the decoder along with target tensors.</a:t>
            </a:r>
          </a:p>
          <a:p>
            <a:pPr marL="742950" lvl="1" indent="-285750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IN" sz="1400" dirty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e positional encoding function is added to token embeddings so that we can get notions of word order.</a:t>
            </a:r>
          </a:p>
          <a:p>
            <a:pPr marL="742950" lvl="1" indent="-285750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IN" sz="1400" dirty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Now , subsequent word mask is created and model is trained and output is obtained.</a:t>
            </a:r>
          </a:p>
          <a:p>
            <a:pPr marL="742950" lvl="1" indent="-285750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IN" sz="1400" dirty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Accuracy which are getting is 82%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0740F1C-184A-41EB-4B9A-FB51FCDD66A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645" b="100000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024860" y="12659"/>
            <a:ext cx="1159691" cy="9822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252905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7A481D-13A9-D29A-59FB-2717114037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1199055"/>
          </a:xfrm>
        </p:spPr>
        <p:txBody>
          <a:bodyPr>
            <a:normAutofit/>
          </a:bodyPr>
          <a:lstStyle/>
          <a:p>
            <a:r>
              <a:rPr lang="en-IN" sz="4400" dirty="0">
                <a:latin typeface="Bahnschrift Condensed" panose="020B0502040204020203" pitchFamily="34" charset="0"/>
              </a:rPr>
              <a:t>Sample Outpu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2666957-1922-5649-0944-A9F5973E74C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5483" y="1473692"/>
            <a:ext cx="8561033" cy="481558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7ACFBCE-6905-5B0B-D8BE-3A452FEAFB2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645" b="100000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024860" y="12659"/>
            <a:ext cx="1159691" cy="982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575426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rgbClr val="FF0000"/>
                </a:solidFill>
                <a:latin typeface="Bahnschrift Condensed" panose="020B0502040204020203" pitchFamily="34" charset="0"/>
              </a:rPr>
              <a:t>Future Scope of the Projec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905962" y="1025757"/>
            <a:ext cx="1433326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600" b="1" i="0" u="none" strike="noStrike" kern="1200" cap="none" spc="0" normalizeH="0" baseline="0" noProof="0" dirty="0">
                <a:ln>
                  <a:noFill/>
                </a:ln>
                <a:solidFill>
                  <a:srgbClr val="46464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en-US" sz="11500" b="0" i="0" u="none" strike="noStrike" kern="1200" cap="none" spc="0" normalizeH="0" baseline="0" noProof="0" dirty="0">
              <a:ln>
                <a:noFill/>
              </a:ln>
              <a:solidFill>
                <a:srgbClr val="46464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150083" y="3950563"/>
            <a:ext cx="1433326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600" b="1" i="0" u="none" strike="noStrike" kern="1200" cap="none" spc="0" normalizeH="0" baseline="0" noProof="0" dirty="0">
                <a:ln>
                  <a:noFill/>
                </a:ln>
                <a:solidFill>
                  <a:srgbClr val="2DA2B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endParaRPr kumimoji="0" lang="en-US" sz="11500" b="0" i="0" u="none" strike="noStrike" kern="1200" cap="none" spc="0" normalizeH="0" baseline="0" noProof="0" dirty="0">
              <a:ln>
                <a:noFill/>
              </a:ln>
              <a:solidFill>
                <a:srgbClr val="2DA2B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AA762E4-A16B-F2F2-D627-1AE7887C8048}"/>
              </a:ext>
            </a:extLst>
          </p:cNvPr>
          <p:cNvSpPr txBox="1"/>
          <p:nvPr/>
        </p:nvSpPr>
        <p:spPr>
          <a:xfrm>
            <a:off x="2263807" y="1605268"/>
            <a:ext cx="6833586" cy="21200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65760" algn="just">
              <a:lnSpc>
                <a:spcPct val="150000"/>
              </a:lnSpc>
            </a:pPr>
            <a:r>
              <a:rPr lang="en-US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As transformer based model can be used in sequential based data it can be used in protein sequence analysis and in DNA sequence analysis</a:t>
            </a:r>
          </a:p>
          <a:p>
            <a:pPr marL="365760" algn="just">
              <a:lnSpc>
                <a:spcPct val="150000"/>
              </a:lnSpc>
            </a:pPr>
            <a:endParaRPr lang="en-US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65760" algn="just">
              <a:lnSpc>
                <a:spcPct val="150000"/>
              </a:lnSpc>
            </a:pPr>
            <a:endParaRPr lang="en-IN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54D3C7F-DE18-5779-CA7D-089F860B02A5}"/>
              </a:ext>
            </a:extLst>
          </p:cNvPr>
          <p:cNvSpPr txBox="1"/>
          <p:nvPr/>
        </p:nvSpPr>
        <p:spPr>
          <a:xfrm>
            <a:off x="5104660" y="4811697"/>
            <a:ext cx="496261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As we are limited to only one language translation in this project ,we can do it  for multiple languages</a:t>
            </a:r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64083600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CFB8EA-CF61-9188-5CCF-0F624BB09E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6365" y="2059618"/>
            <a:ext cx="5610687" cy="2467994"/>
          </a:xfrm>
        </p:spPr>
        <p:txBody>
          <a:bodyPr>
            <a:normAutofit/>
          </a:bodyPr>
          <a:lstStyle/>
          <a:p>
            <a:r>
              <a:rPr lang="en-IN" dirty="0"/>
              <a:t>             </a:t>
            </a:r>
            <a:r>
              <a:rPr lang="en-IN" sz="6000" b="1" dirty="0"/>
              <a:t>THANK YOU</a:t>
            </a:r>
            <a:br>
              <a:rPr lang="en-IN" dirty="0"/>
            </a:br>
            <a:endParaRPr lang="en-IN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512D7B1-674C-7714-7BE0-411C3EF923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645" b="100000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024860" y="12659"/>
            <a:ext cx="1159691" cy="982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95442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3207798" cy="1143000"/>
          </a:xfrm>
        </p:spPr>
        <p:txBody>
          <a:bodyPr>
            <a:normAutofit fontScale="90000"/>
          </a:bodyPr>
          <a:lstStyle/>
          <a:p>
            <a:r>
              <a:rPr lang="en-US" b="1" dirty="0">
                <a:solidFill>
                  <a:srgbClr val="FF0000"/>
                </a:solidFill>
                <a:latin typeface="Bahnschrift Condensed" panose="020B0502040204020203" pitchFamily="34" charset="0"/>
              </a:rPr>
              <a:t>Need of the Project</a:t>
            </a:r>
          </a:p>
        </p:txBody>
      </p:sp>
      <p:sp>
        <p:nvSpPr>
          <p:cNvPr id="3" name="Rectangle 2"/>
          <p:cNvSpPr/>
          <p:nvPr/>
        </p:nvSpPr>
        <p:spPr>
          <a:xfrm>
            <a:off x="4170218" y="0"/>
            <a:ext cx="8021782" cy="6858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0" tIns="45720" rIns="720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just">
              <a:lnSpc>
                <a:spcPct val="150000"/>
              </a:lnSpc>
              <a:spcBef>
                <a:spcPts val="1030"/>
              </a:spcBef>
              <a:buNone/>
            </a:pPr>
            <a:r>
              <a:rPr lang="en-IN" sz="1600" spc="-5" dirty="0">
                <a:solidFill>
                  <a:schemeClr val="bg2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As our world becomes increasingly connected, language translation provides a critical cultural and economic bridge between people from different countries and ethnic groups. Some of the more obvious use-cases include:</a:t>
            </a:r>
            <a:endParaRPr lang="en-IN" sz="1600" dirty="0">
              <a:solidFill>
                <a:schemeClr val="bg2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50000"/>
              </a:lnSpc>
              <a:spcBef>
                <a:spcPts val="2570"/>
              </a:spcBef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IN" sz="1600" b="0" spc="-5" dirty="0">
                <a:solidFill>
                  <a:schemeClr val="bg2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business</a:t>
            </a:r>
            <a:r>
              <a:rPr lang="en-IN" sz="1600" spc="-5" dirty="0">
                <a:solidFill>
                  <a:schemeClr val="bg2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international trade, investment, contracts, finance</a:t>
            </a:r>
            <a:endParaRPr lang="en-IN" sz="1600" dirty="0">
              <a:solidFill>
                <a:schemeClr val="bg2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50000"/>
              </a:lnSpc>
              <a:spcBef>
                <a:spcPts val="1370"/>
              </a:spcBef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IN" sz="1600" b="0" spc="-5" dirty="0">
                <a:solidFill>
                  <a:schemeClr val="bg2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merce</a:t>
            </a:r>
            <a:r>
              <a:rPr lang="en-IN" sz="1600" spc="-5" dirty="0">
                <a:solidFill>
                  <a:schemeClr val="bg2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travel, purchase of foreign goods and services, customer support</a:t>
            </a:r>
            <a:endParaRPr lang="en-IN" sz="1600" dirty="0">
              <a:solidFill>
                <a:schemeClr val="bg2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50000"/>
              </a:lnSpc>
              <a:spcBef>
                <a:spcPts val="1370"/>
              </a:spcBef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IN" sz="1600" b="0" spc="-5" dirty="0">
                <a:solidFill>
                  <a:schemeClr val="bg2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media</a:t>
            </a:r>
            <a:r>
              <a:rPr lang="en-IN" sz="1600" spc="-5" dirty="0">
                <a:solidFill>
                  <a:schemeClr val="bg2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accessing information via search, sharing information via social networks, localization of content and advertising</a:t>
            </a:r>
            <a:endParaRPr lang="en-IN" sz="1600" dirty="0">
              <a:solidFill>
                <a:schemeClr val="bg2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50000"/>
              </a:lnSpc>
              <a:spcBef>
                <a:spcPts val="1370"/>
              </a:spcBef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IN" sz="1600" b="0" spc="-5" dirty="0">
                <a:solidFill>
                  <a:schemeClr val="bg2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education</a:t>
            </a:r>
            <a:r>
              <a:rPr lang="en-IN" sz="1600" spc="-5" dirty="0">
                <a:solidFill>
                  <a:schemeClr val="bg2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sharing of ideas, collaboration, translation of research papers</a:t>
            </a:r>
            <a:endParaRPr lang="en-IN" sz="1600" dirty="0">
              <a:solidFill>
                <a:schemeClr val="bg2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50000"/>
              </a:lnSpc>
              <a:spcBef>
                <a:spcPts val="1370"/>
              </a:spcBef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IN" sz="1600" b="0" spc="-5" dirty="0">
                <a:solidFill>
                  <a:schemeClr val="bg2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government</a:t>
            </a:r>
            <a:r>
              <a:rPr lang="en-IN" sz="1600" spc="-5" dirty="0">
                <a:solidFill>
                  <a:schemeClr val="bg2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foreign relations, negotiation</a:t>
            </a:r>
            <a:endParaRPr lang="en-IN" sz="1600" dirty="0">
              <a:solidFill>
                <a:schemeClr val="bg2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6747A2C-3F48-BF1A-E6DB-59D0124BB92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645" b="100000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024860" y="12659"/>
            <a:ext cx="1159691" cy="9822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264915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3207798" cy="1143000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rgbClr val="FF0000"/>
                </a:solidFill>
                <a:latin typeface="Bahnschrift Condensed" panose="020B0502040204020203" pitchFamily="34" charset="0"/>
              </a:rPr>
              <a:t>Entropy</a:t>
            </a:r>
          </a:p>
        </p:txBody>
      </p:sp>
      <p:sp>
        <p:nvSpPr>
          <p:cNvPr id="3" name="Rectangle 2"/>
          <p:cNvSpPr/>
          <p:nvPr/>
        </p:nvSpPr>
        <p:spPr>
          <a:xfrm>
            <a:off x="4873841" y="0"/>
            <a:ext cx="7318158" cy="68580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0" tIns="45720" rIns="720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103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6747A2C-3F48-BF1A-E6DB-59D0124BB92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645" b="100000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024860" y="12659"/>
            <a:ext cx="1159691" cy="98225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6F5DACE-5571-EB0C-BBF5-EE9FBCF6CFEB}"/>
              </a:ext>
            </a:extLst>
          </p:cNvPr>
          <p:cNvSpPr txBox="1"/>
          <p:nvPr/>
        </p:nvSpPr>
        <p:spPr>
          <a:xfrm>
            <a:off x="5202315" y="994910"/>
            <a:ext cx="6001304" cy="36933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Entropy is the measure of degree of Disorder/Randomnes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Our goal is to achieve a set of ordered set from a set of disordered se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en-US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itially, when all the classes are mixed ,then entropy is high</a:t>
            </a:r>
          </a:p>
          <a:p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    and when all classes is classified ,entropy will be minimum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en-US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ross entropy can be interpreted as the expected message-length per datum when a wrong distribution is assumed while the data actually follows a distribution p.</a:t>
            </a:r>
          </a:p>
          <a:p>
            <a:pPr marL="0" indent="0">
              <a:buNone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" name="Picture 14" descr="machine learning - What is cross-entropy? - Stack Overflow">
            <a:extLst>
              <a:ext uri="{FF2B5EF4-FFF2-40B4-BE49-F238E27FC236}">
                <a16:creationId xmlns:a16="http://schemas.microsoft.com/office/drawing/2014/main" id="{15CB485D-6941-C68D-F625-895A50D5E1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5491" y="5077362"/>
            <a:ext cx="3249320" cy="16416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2F3C59F-4186-8D4A-1A07-4F79D75E3CC2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65" b="21836"/>
          <a:stretch/>
        </p:blipFill>
        <p:spPr>
          <a:xfrm>
            <a:off x="159798" y="2476871"/>
            <a:ext cx="4598814" cy="373731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196310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Arc 125"/>
          <p:cNvSpPr>
            <a:spLocks noChangeAspect="1"/>
          </p:cNvSpPr>
          <p:nvPr/>
        </p:nvSpPr>
        <p:spPr>
          <a:xfrm>
            <a:off x="3020590" y="1648318"/>
            <a:ext cx="6151629" cy="6256362"/>
          </a:xfrm>
          <a:prstGeom prst="arc">
            <a:avLst>
              <a:gd name="adj1" fmla="val 9460282"/>
              <a:gd name="adj2" fmla="val 1379325"/>
            </a:avLst>
          </a:prstGeom>
          <a:ln w="381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Bahnschrift" panose="020B0502040204020203" pitchFamily="34" charset="0"/>
              </a:rPr>
              <a:t>	What is The Transformer???</a:t>
            </a:r>
          </a:p>
        </p:txBody>
      </p:sp>
      <p:grpSp>
        <p:nvGrpSpPr>
          <p:cNvPr id="110" name="Group 109"/>
          <p:cNvGrpSpPr/>
          <p:nvPr/>
        </p:nvGrpSpPr>
        <p:grpSpPr>
          <a:xfrm rot="18859635">
            <a:off x="2850111" y="5474593"/>
            <a:ext cx="687003" cy="687004"/>
            <a:chOff x="1871333" y="2522497"/>
            <a:chExt cx="1106424" cy="1106424"/>
          </a:xfrm>
        </p:grpSpPr>
        <p:sp>
          <p:nvSpPr>
            <p:cNvPr id="111" name="Oval 110"/>
            <p:cNvSpPr>
              <a:spLocks noChangeAspect="1"/>
            </p:cNvSpPr>
            <p:nvPr/>
          </p:nvSpPr>
          <p:spPr>
            <a:xfrm>
              <a:off x="1871333" y="2522497"/>
              <a:ext cx="1106424" cy="1106424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2" name="Oval 111"/>
            <p:cNvSpPr>
              <a:spLocks noChangeAspect="1"/>
            </p:cNvSpPr>
            <p:nvPr/>
          </p:nvSpPr>
          <p:spPr>
            <a:xfrm>
              <a:off x="1967345" y="2618509"/>
              <a:ext cx="914400" cy="9144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27" name="TextBox 126"/>
          <p:cNvSpPr txBox="1"/>
          <p:nvPr/>
        </p:nvSpPr>
        <p:spPr>
          <a:xfrm>
            <a:off x="613008" y="5632736"/>
            <a:ext cx="2323277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i="0" dirty="0">
                <a:effectLst/>
                <a:latin typeface="arial" panose="020B0604020202020204" pitchFamily="34" charset="0"/>
              </a:rPr>
              <a:t>deep learning model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46464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8" name="TextBox 127"/>
          <p:cNvSpPr txBox="1"/>
          <p:nvPr/>
        </p:nvSpPr>
        <p:spPr>
          <a:xfrm>
            <a:off x="9289631" y="5140293"/>
            <a:ext cx="2271082" cy="132343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1600" b="1" i="0" dirty="0">
                <a:effectLst/>
                <a:latin typeface="arial" panose="020B0604020202020204" pitchFamily="34" charset="0"/>
              </a:rPr>
              <a:t>primarily in the field of natural language</a:t>
            </a:r>
          </a:p>
          <a:p>
            <a:pPr marL="0" indent="0" algn="l">
              <a:buNone/>
            </a:pPr>
            <a:r>
              <a:rPr lang="en-US" sz="1600" b="1" i="0" dirty="0">
                <a:effectLst/>
                <a:latin typeface="arial" panose="020B0604020202020204" pitchFamily="34" charset="0"/>
              </a:rPr>
              <a:t> processing (NLP) and in computer vision (CV)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474B7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44" name="Group 143"/>
          <p:cNvGrpSpPr/>
          <p:nvPr/>
        </p:nvGrpSpPr>
        <p:grpSpPr>
          <a:xfrm rot="18859635">
            <a:off x="8654888" y="5474592"/>
            <a:ext cx="687003" cy="687003"/>
            <a:chOff x="1871333" y="2522497"/>
            <a:chExt cx="1106424" cy="1106424"/>
          </a:xfrm>
        </p:grpSpPr>
        <p:sp>
          <p:nvSpPr>
            <p:cNvPr id="149" name="Oval 148"/>
            <p:cNvSpPr>
              <a:spLocks noChangeAspect="1"/>
            </p:cNvSpPr>
            <p:nvPr/>
          </p:nvSpPr>
          <p:spPr>
            <a:xfrm>
              <a:off x="1871333" y="2522497"/>
              <a:ext cx="1106424" cy="1106424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0" name="Oval 149"/>
            <p:cNvSpPr>
              <a:spLocks noChangeAspect="1"/>
            </p:cNvSpPr>
            <p:nvPr/>
          </p:nvSpPr>
          <p:spPr>
            <a:xfrm>
              <a:off x="1967345" y="2618509"/>
              <a:ext cx="914400" cy="9144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52" name="TextBox 151"/>
          <p:cNvSpPr txBox="1"/>
          <p:nvPr/>
        </p:nvSpPr>
        <p:spPr>
          <a:xfrm>
            <a:off x="8878192" y="2041897"/>
            <a:ext cx="1405131" cy="156966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indent="0" algn="l">
              <a:buNone/>
            </a:pPr>
            <a:r>
              <a:rPr lang="en-US" sz="1600" b="1" i="0" dirty="0">
                <a:effectLst/>
                <a:latin typeface="arial" panose="020B0604020202020204" pitchFamily="34" charset="0"/>
              </a:rPr>
              <a:t>weighting the significance of each part of the input data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EB641B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59" name="Conference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8809601" y="5606361"/>
            <a:ext cx="389045" cy="370825"/>
            <a:chOff x="44" y="44"/>
            <a:chExt cx="363" cy="346"/>
          </a:xfrm>
          <a:solidFill>
            <a:schemeClr val="bg1"/>
          </a:solidFill>
        </p:grpSpPr>
        <p:sp>
          <p:nvSpPr>
            <p:cNvPr id="160" name="Conference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98" y="81"/>
              <a:ext cx="91" cy="91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1" name="Conference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63" y="81"/>
              <a:ext cx="90" cy="91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2" name="Conference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72" y="44"/>
              <a:ext cx="109" cy="109"/>
            </a:xfrm>
            <a:custGeom>
              <a:avLst/>
              <a:gdLst>
                <a:gd name="T0" fmla="*/ 75 w 75"/>
                <a:gd name="T1" fmla="*/ 38 h 75"/>
                <a:gd name="T2" fmla="*/ 37 w 75"/>
                <a:gd name="T3" fmla="*/ 75 h 75"/>
                <a:gd name="T4" fmla="*/ 0 w 75"/>
                <a:gd name="T5" fmla="*/ 38 h 75"/>
                <a:gd name="T6" fmla="*/ 37 w 75"/>
                <a:gd name="T7" fmla="*/ 0 h 75"/>
                <a:gd name="T8" fmla="*/ 75 w 75"/>
                <a:gd name="T9" fmla="*/ 37 h 75"/>
                <a:gd name="T10" fmla="*/ 75 w 75"/>
                <a:gd name="T11" fmla="*/ 38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" h="75">
                  <a:moveTo>
                    <a:pt x="75" y="38"/>
                  </a:moveTo>
                  <a:cubicBezTo>
                    <a:pt x="75" y="58"/>
                    <a:pt x="58" y="75"/>
                    <a:pt x="37" y="75"/>
                  </a:cubicBezTo>
                  <a:cubicBezTo>
                    <a:pt x="16" y="75"/>
                    <a:pt x="0" y="58"/>
                    <a:pt x="0" y="38"/>
                  </a:cubicBezTo>
                  <a:cubicBezTo>
                    <a:pt x="0" y="17"/>
                    <a:pt x="16" y="0"/>
                    <a:pt x="37" y="0"/>
                  </a:cubicBezTo>
                  <a:cubicBezTo>
                    <a:pt x="58" y="0"/>
                    <a:pt x="75" y="17"/>
                    <a:pt x="75" y="37"/>
                  </a:cubicBezTo>
                  <a:lnTo>
                    <a:pt x="75" y="3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3" name="Conference"/>
            <p:cNvSpPr>
              <a:spLocks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44" y="172"/>
              <a:ext cx="363" cy="218"/>
            </a:xfrm>
            <a:custGeom>
              <a:avLst/>
              <a:gdLst>
                <a:gd name="T0" fmla="*/ 206 w 250"/>
                <a:gd name="T1" fmla="*/ 12 h 150"/>
                <a:gd name="T2" fmla="*/ 181 w 250"/>
                <a:gd name="T3" fmla="*/ 18 h 150"/>
                <a:gd name="T4" fmla="*/ 188 w 250"/>
                <a:gd name="T5" fmla="*/ 50 h 150"/>
                <a:gd name="T6" fmla="*/ 125 w 250"/>
                <a:gd name="T7" fmla="*/ 0 h 150"/>
                <a:gd name="T8" fmla="*/ 63 w 250"/>
                <a:gd name="T9" fmla="*/ 50 h 150"/>
                <a:gd name="T10" fmla="*/ 69 w 250"/>
                <a:gd name="T11" fmla="*/ 18 h 150"/>
                <a:gd name="T12" fmla="*/ 44 w 250"/>
                <a:gd name="T13" fmla="*/ 12 h 150"/>
                <a:gd name="T14" fmla="*/ 0 w 250"/>
                <a:gd name="T15" fmla="*/ 53 h 150"/>
                <a:gd name="T16" fmla="*/ 0 w 250"/>
                <a:gd name="T17" fmla="*/ 125 h 150"/>
                <a:gd name="T18" fmla="*/ 25 w 250"/>
                <a:gd name="T19" fmla="*/ 150 h 150"/>
                <a:gd name="T20" fmla="*/ 61 w 250"/>
                <a:gd name="T21" fmla="*/ 150 h 150"/>
                <a:gd name="T22" fmla="*/ 125 w 250"/>
                <a:gd name="T23" fmla="*/ 125 h 150"/>
                <a:gd name="T24" fmla="*/ 189 w 250"/>
                <a:gd name="T25" fmla="*/ 150 h 150"/>
                <a:gd name="T26" fmla="*/ 225 w 250"/>
                <a:gd name="T27" fmla="*/ 150 h 150"/>
                <a:gd name="T28" fmla="*/ 250 w 250"/>
                <a:gd name="T29" fmla="*/ 125 h 150"/>
                <a:gd name="T30" fmla="*/ 250 w 250"/>
                <a:gd name="T31" fmla="*/ 53 h 150"/>
                <a:gd name="T32" fmla="*/ 206 w 250"/>
                <a:gd name="T33" fmla="*/ 12 h 150"/>
                <a:gd name="T34" fmla="*/ 125 w 250"/>
                <a:gd name="T35" fmla="*/ 112 h 150"/>
                <a:gd name="T36" fmla="*/ 94 w 250"/>
                <a:gd name="T37" fmla="*/ 81 h 150"/>
                <a:gd name="T38" fmla="*/ 125 w 250"/>
                <a:gd name="T39" fmla="*/ 50 h 150"/>
                <a:gd name="T40" fmla="*/ 156 w 250"/>
                <a:gd name="T41" fmla="*/ 81 h 150"/>
                <a:gd name="T42" fmla="*/ 125 w 250"/>
                <a:gd name="T43" fmla="*/ 112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0" h="150">
                  <a:moveTo>
                    <a:pt x="206" y="12"/>
                  </a:moveTo>
                  <a:cubicBezTo>
                    <a:pt x="200" y="12"/>
                    <a:pt x="186" y="14"/>
                    <a:pt x="181" y="18"/>
                  </a:cubicBezTo>
                  <a:cubicBezTo>
                    <a:pt x="181" y="18"/>
                    <a:pt x="188" y="32"/>
                    <a:pt x="188" y="50"/>
                  </a:cubicBezTo>
                  <a:cubicBezTo>
                    <a:pt x="188" y="50"/>
                    <a:pt x="173" y="0"/>
                    <a:pt x="125" y="0"/>
                  </a:cubicBezTo>
                  <a:cubicBezTo>
                    <a:pt x="77" y="0"/>
                    <a:pt x="63" y="50"/>
                    <a:pt x="63" y="50"/>
                  </a:cubicBezTo>
                  <a:cubicBezTo>
                    <a:pt x="63" y="32"/>
                    <a:pt x="69" y="18"/>
                    <a:pt x="69" y="18"/>
                  </a:cubicBezTo>
                  <a:cubicBezTo>
                    <a:pt x="64" y="14"/>
                    <a:pt x="50" y="12"/>
                    <a:pt x="44" y="12"/>
                  </a:cubicBezTo>
                  <a:cubicBezTo>
                    <a:pt x="23" y="12"/>
                    <a:pt x="0" y="37"/>
                    <a:pt x="0" y="53"/>
                  </a:cubicBezTo>
                  <a:lnTo>
                    <a:pt x="0" y="125"/>
                  </a:lnTo>
                  <a:cubicBezTo>
                    <a:pt x="0" y="138"/>
                    <a:pt x="11" y="150"/>
                    <a:pt x="25" y="150"/>
                  </a:cubicBezTo>
                  <a:lnTo>
                    <a:pt x="61" y="150"/>
                  </a:lnTo>
                  <a:cubicBezTo>
                    <a:pt x="73" y="138"/>
                    <a:pt x="93" y="125"/>
                    <a:pt x="125" y="125"/>
                  </a:cubicBezTo>
                  <a:cubicBezTo>
                    <a:pt x="158" y="125"/>
                    <a:pt x="178" y="138"/>
                    <a:pt x="189" y="150"/>
                  </a:cubicBezTo>
                  <a:lnTo>
                    <a:pt x="225" y="150"/>
                  </a:lnTo>
                  <a:cubicBezTo>
                    <a:pt x="239" y="150"/>
                    <a:pt x="250" y="138"/>
                    <a:pt x="250" y="125"/>
                  </a:cubicBezTo>
                  <a:lnTo>
                    <a:pt x="250" y="53"/>
                  </a:lnTo>
                  <a:cubicBezTo>
                    <a:pt x="250" y="37"/>
                    <a:pt x="225" y="12"/>
                    <a:pt x="206" y="12"/>
                  </a:cubicBezTo>
                  <a:close/>
                  <a:moveTo>
                    <a:pt x="125" y="112"/>
                  </a:moveTo>
                  <a:cubicBezTo>
                    <a:pt x="108" y="112"/>
                    <a:pt x="94" y="98"/>
                    <a:pt x="94" y="81"/>
                  </a:cubicBezTo>
                  <a:cubicBezTo>
                    <a:pt x="94" y="63"/>
                    <a:pt x="108" y="50"/>
                    <a:pt x="125" y="50"/>
                  </a:cubicBezTo>
                  <a:cubicBezTo>
                    <a:pt x="143" y="50"/>
                    <a:pt x="156" y="63"/>
                    <a:pt x="156" y="81"/>
                  </a:cubicBezTo>
                  <a:cubicBezTo>
                    <a:pt x="156" y="98"/>
                    <a:pt x="143" y="112"/>
                    <a:pt x="125" y="11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050" name="Picture 2">
            <a:extLst>
              <a:ext uri="{FF2B5EF4-FFF2-40B4-BE49-F238E27FC236}">
                <a16:creationId xmlns:a16="http://schemas.microsoft.com/office/drawing/2014/main" id="{5B849040-C29E-42E5-8B12-DD443EEE48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4768" y="2869058"/>
            <a:ext cx="4519667" cy="2800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48" name="TextBox 2047">
            <a:extLst>
              <a:ext uri="{FF2B5EF4-FFF2-40B4-BE49-F238E27FC236}">
                <a16:creationId xmlns:a16="http://schemas.microsoft.com/office/drawing/2014/main" id="{134D6DEB-36F6-46A6-BDAE-3512F75D4AB2}"/>
              </a:ext>
            </a:extLst>
          </p:cNvPr>
          <p:cNvSpPr txBox="1"/>
          <p:nvPr/>
        </p:nvSpPr>
        <p:spPr>
          <a:xfrm>
            <a:off x="1633770" y="2558382"/>
            <a:ext cx="169295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600" b="1" i="0" dirty="0">
                <a:effectLst/>
                <a:latin typeface="arial" panose="020B0604020202020204" pitchFamily="34" charset="0"/>
              </a:rPr>
              <a:t>adopts the mechanism of self-attention,</a:t>
            </a:r>
            <a:endParaRPr lang="en-IN" sz="1600" b="1" dirty="0"/>
          </a:p>
        </p:txBody>
      </p:sp>
      <p:grpSp>
        <p:nvGrpSpPr>
          <p:cNvPr id="171" name="Group 170">
            <a:extLst>
              <a:ext uri="{FF2B5EF4-FFF2-40B4-BE49-F238E27FC236}">
                <a16:creationId xmlns:a16="http://schemas.microsoft.com/office/drawing/2014/main" id="{C1FF9B99-B316-4432-A19F-16488D81E07D}"/>
              </a:ext>
            </a:extLst>
          </p:cNvPr>
          <p:cNvGrpSpPr/>
          <p:nvPr/>
        </p:nvGrpSpPr>
        <p:grpSpPr>
          <a:xfrm rot="18859635">
            <a:off x="3344532" y="2551019"/>
            <a:ext cx="687003" cy="687004"/>
            <a:chOff x="1871333" y="2522497"/>
            <a:chExt cx="1106424" cy="1106424"/>
          </a:xfrm>
        </p:grpSpPr>
        <p:sp>
          <p:nvSpPr>
            <p:cNvPr id="172" name="Oval 171">
              <a:extLst>
                <a:ext uri="{FF2B5EF4-FFF2-40B4-BE49-F238E27FC236}">
                  <a16:creationId xmlns:a16="http://schemas.microsoft.com/office/drawing/2014/main" id="{162DE5D0-0E86-4FB5-908D-593B14CE874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871333" y="2522497"/>
              <a:ext cx="1106424" cy="1106424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3" name="Oval 172">
              <a:extLst>
                <a:ext uri="{FF2B5EF4-FFF2-40B4-BE49-F238E27FC236}">
                  <a16:creationId xmlns:a16="http://schemas.microsoft.com/office/drawing/2014/main" id="{7E3CAB13-FE89-4A44-A5F5-C72057BC348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67345" y="2618509"/>
              <a:ext cx="914400" cy="9144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74" name="Group 173">
            <a:extLst>
              <a:ext uri="{FF2B5EF4-FFF2-40B4-BE49-F238E27FC236}">
                <a16:creationId xmlns:a16="http://schemas.microsoft.com/office/drawing/2014/main" id="{83F20D80-D780-4F9D-A59A-E21B93EB01EE}"/>
              </a:ext>
            </a:extLst>
          </p:cNvPr>
          <p:cNvGrpSpPr/>
          <p:nvPr/>
        </p:nvGrpSpPr>
        <p:grpSpPr>
          <a:xfrm rot="18859635">
            <a:off x="8117531" y="2505517"/>
            <a:ext cx="687003" cy="687004"/>
            <a:chOff x="1871333" y="2522497"/>
            <a:chExt cx="1106424" cy="1106424"/>
          </a:xfrm>
        </p:grpSpPr>
        <p:sp>
          <p:nvSpPr>
            <p:cNvPr id="175" name="Oval 174">
              <a:extLst>
                <a:ext uri="{FF2B5EF4-FFF2-40B4-BE49-F238E27FC236}">
                  <a16:creationId xmlns:a16="http://schemas.microsoft.com/office/drawing/2014/main" id="{1D8ACB1E-D240-45B5-9A07-C36AEBACC41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871333" y="2522497"/>
              <a:ext cx="1106424" cy="1106424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6" name="Oval 175">
              <a:extLst>
                <a:ext uri="{FF2B5EF4-FFF2-40B4-BE49-F238E27FC236}">
                  <a16:creationId xmlns:a16="http://schemas.microsoft.com/office/drawing/2014/main" id="{B6D6933A-CF4B-45BA-A360-61461D7EAE1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67345" y="2618509"/>
              <a:ext cx="914400" cy="9144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77" name="Group 176">
            <a:extLst>
              <a:ext uri="{FF2B5EF4-FFF2-40B4-BE49-F238E27FC236}">
                <a16:creationId xmlns:a16="http://schemas.microsoft.com/office/drawing/2014/main" id="{B7D0BA69-2542-4CCE-AFDE-62A516EB7EE2}"/>
              </a:ext>
            </a:extLst>
          </p:cNvPr>
          <p:cNvGrpSpPr/>
          <p:nvPr/>
        </p:nvGrpSpPr>
        <p:grpSpPr>
          <a:xfrm rot="18859635">
            <a:off x="8664503" y="5481975"/>
            <a:ext cx="687003" cy="687004"/>
            <a:chOff x="1871333" y="2522497"/>
            <a:chExt cx="1106424" cy="1106424"/>
          </a:xfrm>
        </p:grpSpPr>
        <p:sp>
          <p:nvSpPr>
            <p:cNvPr id="178" name="Oval 177">
              <a:extLst>
                <a:ext uri="{FF2B5EF4-FFF2-40B4-BE49-F238E27FC236}">
                  <a16:creationId xmlns:a16="http://schemas.microsoft.com/office/drawing/2014/main" id="{13D03D21-5640-4BB9-98DF-6674F7C0D69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871333" y="2522497"/>
              <a:ext cx="1106424" cy="1106424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9" name="Oval 178">
              <a:extLst>
                <a:ext uri="{FF2B5EF4-FFF2-40B4-BE49-F238E27FC236}">
                  <a16:creationId xmlns:a16="http://schemas.microsoft.com/office/drawing/2014/main" id="{9E6B6A02-F1C7-415A-BCDE-8E6B628B375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67345" y="2618509"/>
              <a:ext cx="914400" cy="9144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80" name="Group 179">
            <a:extLst>
              <a:ext uri="{FF2B5EF4-FFF2-40B4-BE49-F238E27FC236}">
                <a16:creationId xmlns:a16="http://schemas.microsoft.com/office/drawing/2014/main" id="{A568C78E-6AF4-4F52-B9BC-499FB9354D01}"/>
              </a:ext>
            </a:extLst>
          </p:cNvPr>
          <p:cNvGrpSpPr/>
          <p:nvPr/>
        </p:nvGrpSpPr>
        <p:grpSpPr>
          <a:xfrm rot="18859635">
            <a:off x="5654684" y="1354195"/>
            <a:ext cx="687003" cy="687004"/>
            <a:chOff x="1871333" y="2522497"/>
            <a:chExt cx="1106424" cy="1106424"/>
          </a:xfrm>
        </p:grpSpPr>
        <p:sp>
          <p:nvSpPr>
            <p:cNvPr id="181" name="Oval 180">
              <a:extLst>
                <a:ext uri="{FF2B5EF4-FFF2-40B4-BE49-F238E27FC236}">
                  <a16:creationId xmlns:a16="http://schemas.microsoft.com/office/drawing/2014/main" id="{8EB02C01-DA84-4F14-BEBF-EE33E8A54F0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871333" y="2522497"/>
              <a:ext cx="1106424" cy="1106424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2" name="Oval 181">
              <a:extLst>
                <a:ext uri="{FF2B5EF4-FFF2-40B4-BE49-F238E27FC236}">
                  <a16:creationId xmlns:a16="http://schemas.microsoft.com/office/drawing/2014/main" id="{5CC3A1B0-E707-4127-A895-73D2D67275B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67345" y="2618509"/>
              <a:ext cx="914400" cy="9144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32" name="Picture 31">
            <a:extLst>
              <a:ext uri="{FF2B5EF4-FFF2-40B4-BE49-F238E27FC236}">
                <a16:creationId xmlns:a16="http://schemas.microsoft.com/office/drawing/2014/main" id="{23C53732-2A5F-0492-7024-E53A140F40D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645" b="100000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024860" y="12659"/>
            <a:ext cx="1159691" cy="9822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538713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6E4DB8-D91E-83CF-1A5D-1FDBA41A05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>
                <a:solidFill>
                  <a:srgbClr val="FF0000"/>
                </a:solidFill>
                <a:latin typeface="Bahnschrift Condensed" panose="020B0502040204020203" pitchFamily="34" charset="0"/>
              </a:rPr>
              <a:t>Why transformer over other modules.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91488B47-7D41-2331-D884-1FDE3C2185C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29857" r="-1667"/>
          <a:stretch/>
        </p:blipFill>
        <p:spPr bwMode="auto">
          <a:xfrm>
            <a:off x="1175508" y="2254929"/>
            <a:ext cx="5180904" cy="2308193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1B3BF11-AC67-9052-B425-E264DE0CE28A}"/>
              </a:ext>
            </a:extLst>
          </p:cNvPr>
          <p:cNvSpPr txBox="1"/>
          <p:nvPr/>
        </p:nvSpPr>
        <p:spPr>
          <a:xfrm>
            <a:off x="2059620" y="4705164"/>
            <a:ext cx="8362764" cy="10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b="1" i="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Transformers are better than all the other architectures because they totally avoid recursion, by processing sentences as a whole and by learning relationships between words thanks to multi-head attention mechanisms and positional embeddings.</a:t>
            </a:r>
            <a:endParaRPr lang="en-IN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B53B0EF-82ED-B8F2-FBFF-DB93BC3FAD1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645" b="100000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024860" y="12659"/>
            <a:ext cx="1159691" cy="982252"/>
          </a:xfrm>
          <a:prstGeom prst="rect">
            <a:avLst/>
          </a:prstGeom>
        </p:spPr>
      </p:pic>
      <p:pic>
        <p:nvPicPr>
          <p:cNvPr id="9" name="image19.png">
            <a:extLst>
              <a:ext uri="{FF2B5EF4-FFF2-40B4-BE49-F238E27FC236}">
                <a16:creationId xmlns:a16="http://schemas.microsoft.com/office/drawing/2014/main" id="{5EFF7E68-B659-943D-69FF-FC7650F5B0C3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356410" y="1911668"/>
            <a:ext cx="4997389" cy="2580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24577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549875" y="0"/>
            <a:ext cx="2934905" cy="685800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23000">
                <a:srgbClr val="FBFBFB">
                  <a:alpha val="99000"/>
                </a:srgbClr>
              </a:gs>
              <a:gs pos="52000">
                <a:srgbClr val="F7F7F7">
                  <a:lumMod val="100000"/>
                  <a:alpha val="80000"/>
                </a:srgbClr>
              </a:gs>
              <a:gs pos="77000">
                <a:srgbClr val="F5F5F5">
                  <a:alpha val="40000"/>
                </a:srgbClr>
              </a:gs>
              <a:gs pos="100000">
                <a:schemeClr val="bg1">
                  <a:lumMod val="95000"/>
                  <a:alpha val="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2117558" y="274638"/>
            <a:ext cx="13699958" cy="706090"/>
          </a:xfrm>
        </p:spPr>
        <p:txBody>
          <a:bodyPr>
            <a:noAutofit/>
          </a:bodyPr>
          <a:lstStyle/>
          <a:p>
            <a:pPr algn="ctr"/>
            <a:r>
              <a:rPr lang="en-US" sz="5400" b="1" dirty="0">
                <a:latin typeface="Bahnschrift Condensed" panose="020B0502040204020203" pitchFamily="34" charset="0"/>
              </a:rPr>
              <a:t>A High-Level Look</a:t>
            </a:r>
          </a:p>
        </p:txBody>
      </p:sp>
      <p:grpSp>
        <p:nvGrpSpPr>
          <p:cNvPr id="34" name="Group 33"/>
          <p:cNvGrpSpPr/>
          <p:nvPr/>
        </p:nvGrpSpPr>
        <p:grpSpPr>
          <a:xfrm>
            <a:off x="1001042" y="1535598"/>
            <a:ext cx="923636" cy="923636"/>
            <a:chOff x="1001042" y="1294298"/>
            <a:chExt cx="923636" cy="923636"/>
          </a:xfrm>
        </p:grpSpPr>
        <p:sp>
          <p:nvSpPr>
            <p:cNvPr id="7" name="Oval 6"/>
            <p:cNvSpPr>
              <a:spLocks noChangeAspect="1"/>
            </p:cNvSpPr>
            <p:nvPr>
              <p:custDataLst>
                <p:tags r:id="rId14"/>
              </p:custDataLst>
            </p:nvPr>
          </p:nvSpPr>
          <p:spPr>
            <a:xfrm>
              <a:off x="1001042" y="1294298"/>
              <a:ext cx="923636" cy="923636"/>
            </a:xfrm>
            <a:prstGeom prst="ellipse">
              <a:avLst/>
            </a:prstGeom>
            <a:solidFill>
              <a:schemeClr val="bg1"/>
            </a:solidFill>
            <a:ln w="25400" cap="flat" cmpd="sng" algn="ctr">
              <a:solidFill>
                <a:schemeClr val="bg1">
                  <a:lumMod val="65000"/>
                </a:schemeClr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  <a:scene3d>
                <a:camera prst="orthographicFront">
                  <a:rot lat="0" lon="0" rev="0"/>
                </a:camera>
                <a:lightRig rig="threePt" dir="t"/>
              </a:scene3d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Calibri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10" name="Oval 9"/>
            <p:cNvSpPr>
              <a:spLocks noChangeAspect="1"/>
            </p:cNvSpPr>
            <p:nvPr>
              <p:custDataLst>
                <p:tags r:id="rId15"/>
              </p:custDataLst>
            </p:nvPr>
          </p:nvSpPr>
          <p:spPr>
            <a:xfrm>
              <a:off x="1043026" y="1336282"/>
              <a:ext cx="839669" cy="839669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  <a:scene3d>
                <a:camera prst="orthographicFront">
                  <a:rot lat="0" lon="0" rev="0"/>
                </a:camera>
                <a:lightRig rig="threePt" dir="t"/>
              </a:scene3d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1" name="POWER_USER_ID_ICONS_Advocacy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1161206" y="1437763"/>
              <a:ext cx="535289" cy="617945"/>
              <a:chOff x="8" y="8"/>
              <a:chExt cx="408" cy="471"/>
            </a:xfrm>
            <a:solidFill>
              <a:schemeClr val="bg1"/>
            </a:solidFill>
          </p:grpSpPr>
          <p:sp>
            <p:nvSpPr>
              <p:cNvPr id="12" name="POWER_USER_ID_ICONS_Advocacy"/>
              <p:cNvSpPr>
                <a:spLocks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285" y="298"/>
                <a:ext cx="37" cy="37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" name="POWER_USER_ID_ICONS_Advocacy"/>
              <p:cNvSpPr>
                <a:spLocks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20" y="298"/>
                <a:ext cx="37" cy="37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" name="POWER_USER_ID_ICONS_Advocacy"/>
              <p:cNvSpPr>
                <a:spLocks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221" y="264"/>
                <a:ext cx="56" cy="55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" name="POWER_USER_ID_ICONS_Advocacy"/>
              <p:cNvSpPr>
                <a:spLocks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295" y="345"/>
                <a:ext cx="39" cy="86"/>
              </a:xfrm>
              <a:custGeom>
                <a:avLst/>
                <a:gdLst>
                  <a:gd name="T0" fmla="*/ 103 w 103"/>
                  <a:gd name="T1" fmla="*/ 229 h 229"/>
                  <a:gd name="T2" fmla="*/ 20 w 103"/>
                  <a:gd name="T3" fmla="*/ 229 h 229"/>
                  <a:gd name="T4" fmla="*/ 20 w 103"/>
                  <a:gd name="T5" fmla="*/ 76 h 229"/>
                  <a:gd name="T6" fmla="*/ 0 w 103"/>
                  <a:gd name="T7" fmla="*/ 4 h 229"/>
                  <a:gd name="T8" fmla="*/ 23 w 103"/>
                  <a:gd name="T9" fmla="*/ 0 h 229"/>
                  <a:gd name="T10" fmla="*/ 103 w 103"/>
                  <a:gd name="T11" fmla="*/ 81 h 229"/>
                  <a:gd name="T12" fmla="*/ 103 w 103"/>
                  <a:gd name="T13" fmla="*/ 229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229">
                    <a:moveTo>
                      <a:pt x="103" y="229"/>
                    </a:moveTo>
                    <a:lnTo>
                      <a:pt x="20" y="229"/>
                    </a:lnTo>
                    <a:lnTo>
                      <a:pt x="20" y="76"/>
                    </a:lnTo>
                    <a:cubicBezTo>
                      <a:pt x="20" y="50"/>
                      <a:pt x="12" y="25"/>
                      <a:pt x="0" y="4"/>
                    </a:cubicBezTo>
                    <a:cubicBezTo>
                      <a:pt x="7" y="2"/>
                      <a:pt x="15" y="0"/>
                      <a:pt x="23" y="0"/>
                    </a:cubicBezTo>
                    <a:cubicBezTo>
                      <a:pt x="67" y="0"/>
                      <a:pt x="103" y="36"/>
                      <a:pt x="103" y="81"/>
                    </a:cubicBezTo>
                    <a:lnTo>
                      <a:pt x="103" y="229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" name="POWER_USER_ID_ICONS_Advocacy"/>
              <p:cNvSpPr>
                <a:spLocks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66" y="264"/>
                <a:ext cx="55" cy="55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" name="POWER_USER_ID_ICONS_Advocacy"/>
              <p:cNvSpPr>
                <a:spLocks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8" y="345"/>
                <a:ext cx="39" cy="86"/>
              </a:xfrm>
              <a:custGeom>
                <a:avLst/>
                <a:gdLst>
                  <a:gd name="T0" fmla="*/ 81 w 104"/>
                  <a:gd name="T1" fmla="*/ 0 h 229"/>
                  <a:gd name="T2" fmla="*/ 104 w 104"/>
                  <a:gd name="T3" fmla="*/ 4 h 229"/>
                  <a:gd name="T4" fmla="*/ 83 w 104"/>
                  <a:gd name="T5" fmla="*/ 76 h 229"/>
                  <a:gd name="T6" fmla="*/ 83 w 104"/>
                  <a:gd name="T7" fmla="*/ 229 h 229"/>
                  <a:gd name="T8" fmla="*/ 0 w 104"/>
                  <a:gd name="T9" fmla="*/ 229 h 229"/>
                  <a:gd name="T10" fmla="*/ 0 w 104"/>
                  <a:gd name="T11" fmla="*/ 81 h 229"/>
                  <a:gd name="T12" fmla="*/ 81 w 104"/>
                  <a:gd name="T13" fmla="*/ 0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4" h="229">
                    <a:moveTo>
                      <a:pt x="81" y="0"/>
                    </a:moveTo>
                    <a:cubicBezTo>
                      <a:pt x="89" y="0"/>
                      <a:pt x="96" y="2"/>
                      <a:pt x="104" y="4"/>
                    </a:cubicBezTo>
                    <a:cubicBezTo>
                      <a:pt x="91" y="25"/>
                      <a:pt x="83" y="50"/>
                      <a:pt x="83" y="76"/>
                    </a:cubicBezTo>
                    <a:lnTo>
                      <a:pt x="83" y="229"/>
                    </a:lnTo>
                    <a:lnTo>
                      <a:pt x="0" y="229"/>
                    </a:lnTo>
                    <a:lnTo>
                      <a:pt x="0" y="81"/>
                    </a:lnTo>
                    <a:cubicBezTo>
                      <a:pt x="0" y="36"/>
                      <a:pt x="36" y="0"/>
                      <a:pt x="81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" name="POWER_USER_ID_ICONS_Advocacy"/>
              <p:cNvSpPr>
                <a:spLocks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30" y="209"/>
                <a:ext cx="82" cy="82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" name="POWER_USER_ID_ICONS_Advocacy"/>
              <p:cNvSpPr>
                <a:spLocks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236" y="330"/>
                <a:ext cx="57" cy="123"/>
              </a:xfrm>
              <a:custGeom>
                <a:avLst/>
                <a:gdLst>
                  <a:gd name="T0" fmla="*/ 150 w 150"/>
                  <a:gd name="T1" fmla="*/ 327 h 327"/>
                  <a:gd name="T2" fmla="*/ 22 w 150"/>
                  <a:gd name="T3" fmla="*/ 327 h 327"/>
                  <a:gd name="T4" fmla="*/ 22 w 150"/>
                  <a:gd name="T5" fmla="*/ 94 h 327"/>
                  <a:gd name="T6" fmla="*/ 0 w 150"/>
                  <a:gd name="T7" fmla="*/ 5 h 327"/>
                  <a:gd name="T8" fmla="*/ 33 w 150"/>
                  <a:gd name="T9" fmla="*/ 0 h 327"/>
                  <a:gd name="T10" fmla="*/ 150 w 150"/>
                  <a:gd name="T11" fmla="*/ 117 h 327"/>
                  <a:gd name="T12" fmla="*/ 150 w 150"/>
                  <a:gd name="T13" fmla="*/ 327 h 3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0" h="327">
                    <a:moveTo>
                      <a:pt x="150" y="327"/>
                    </a:moveTo>
                    <a:lnTo>
                      <a:pt x="22" y="327"/>
                    </a:lnTo>
                    <a:lnTo>
                      <a:pt x="22" y="94"/>
                    </a:lnTo>
                    <a:cubicBezTo>
                      <a:pt x="22" y="62"/>
                      <a:pt x="14" y="32"/>
                      <a:pt x="0" y="5"/>
                    </a:cubicBezTo>
                    <a:cubicBezTo>
                      <a:pt x="11" y="2"/>
                      <a:pt x="22" y="0"/>
                      <a:pt x="33" y="0"/>
                    </a:cubicBezTo>
                    <a:cubicBezTo>
                      <a:pt x="98" y="0"/>
                      <a:pt x="150" y="52"/>
                      <a:pt x="150" y="117"/>
                    </a:cubicBezTo>
                    <a:lnTo>
                      <a:pt x="150" y="327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" name="POWER_USER_ID_ICONS_Advocacy"/>
              <p:cNvSpPr>
                <a:spLocks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9" y="330"/>
                <a:ext cx="57" cy="123"/>
              </a:xfrm>
              <a:custGeom>
                <a:avLst/>
                <a:gdLst>
                  <a:gd name="T0" fmla="*/ 128 w 150"/>
                  <a:gd name="T1" fmla="*/ 94 h 327"/>
                  <a:gd name="T2" fmla="*/ 128 w 150"/>
                  <a:gd name="T3" fmla="*/ 327 h 327"/>
                  <a:gd name="T4" fmla="*/ 0 w 150"/>
                  <a:gd name="T5" fmla="*/ 327 h 327"/>
                  <a:gd name="T6" fmla="*/ 0 w 150"/>
                  <a:gd name="T7" fmla="*/ 117 h 327"/>
                  <a:gd name="T8" fmla="*/ 117 w 150"/>
                  <a:gd name="T9" fmla="*/ 0 h 327"/>
                  <a:gd name="T10" fmla="*/ 150 w 150"/>
                  <a:gd name="T11" fmla="*/ 5 h 327"/>
                  <a:gd name="T12" fmla="*/ 128 w 150"/>
                  <a:gd name="T13" fmla="*/ 94 h 3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0" h="327">
                    <a:moveTo>
                      <a:pt x="128" y="94"/>
                    </a:moveTo>
                    <a:lnTo>
                      <a:pt x="128" y="327"/>
                    </a:lnTo>
                    <a:lnTo>
                      <a:pt x="0" y="327"/>
                    </a:lnTo>
                    <a:lnTo>
                      <a:pt x="0" y="117"/>
                    </a:lnTo>
                    <a:cubicBezTo>
                      <a:pt x="0" y="52"/>
                      <a:pt x="53" y="0"/>
                      <a:pt x="117" y="0"/>
                    </a:cubicBezTo>
                    <a:cubicBezTo>
                      <a:pt x="129" y="0"/>
                      <a:pt x="139" y="2"/>
                      <a:pt x="150" y="5"/>
                    </a:cubicBezTo>
                    <a:cubicBezTo>
                      <a:pt x="136" y="32"/>
                      <a:pt x="128" y="62"/>
                      <a:pt x="128" y="94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" name="POWER_USER_ID_ICONS_Advocacy"/>
              <p:cNvSpPr>
                <a:spLocks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07" y="301"/>
                <a:ext cx="128" cy="178"/>
              </a:xfrm>
              <a:custGeom>
                <a:avLst/>
                <a:gdLst>
                  <a:gd name="T0" fmla="*/ 0 w 340"/>
                  <a:gd name="T1" fmla="*/ 471 h 471"/>
                  <a:gd name="T2" fmla="*/ 340 w 340"/>
                  <a:gd name="T3" fmla="*/ 471 h 471"/>
                  <a:gd name="T4" fmla="*/ 340 w 340"/>
                  <a:gd name="T5" fmla="*/ 170 h 471"/>
                  <a:gd name="T6" fmla="*/ 170 w 340"/>
                  <a:gd name="T7" fmla="*/ 0 h 471"/>
                  <a:gd name="T8" fmla="*/ 0 w 340"/>
                  <a:gd name="T9" fmla="*/ 170 h 471"/>
                  <a:gd name="T10" fmla="*/ 0 w 340"/>
                  <a:gd name="T11" fmla="*/ 471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40" h="471">
                    <a:moveTo>
                      <a:pt x="0" y="471"/>
                    </a:moveTo>
                    <a:lnTo>
                      <a:pt x="340" y="471"/>
                    </a:lnTo>
                    <a:lnTo>
                      <a:pt x="340" y="170"/>
                    </a:lnTo>
                    <a:cubicBezTo>
                      <a:pt x="340" y="76"/>
                      <a:pt x="264" y="0"/>
                      <a:pt x="170" y="0"/>
                    </a:cubicBezTo>
                    <a:cubicBezTo>
                      <a:pt x="76" y="0"/>
                      <a:pt x="0" y="76"/>
                      <a:pt x="0" y="170"/>
                    </a:cubicBezTo>
                    <a:lnTo>
                      <a:pt x="0" y="471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" name="POWER_USER_ID_ICONS_Advocacy"/>
              <p:cNvSpPr>
                <a:spLocks noEditPoint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3" y="8"/>
                <a:ext cx="253" cy="230"/>
              </a:xfrm>
              <a:custGeom>
                <a:avLst/>
                <a:gdLst>
                  <a:gd name="T0" fmla="*/ 551 w 675"/>
                  <a:gd name="T1" fmla="*/ 0 h 611"/>
                  <a:gd name="T2" fmla="*/ 123 w 675"/>
                  <a:gd name="T3" fmla="*/ 0 h 611"/>
                  <a:gd name="T4" fmla="*/ 0 w 675"/>
                  <a:gd name="T5" fmla="*/ 123 h 611"/>
                  <a:gd name="T6" fmla="*/ 0 w 675"/>
                  <a:gd name="T7" fmla="*/ 326 h 611"/>
                  <a:gd name="T8" fmla="*/ 123 w 675"/>
                  <a:gd name="T9" fmla="*/ 449 h 611"/>
                  <a:gd name="T10" fmla="*/ 167 w 675"/>
                  <a:gd name="T11" fmla="*/ 449 h 611"/>
                  <a:gd name="T12" fmla="*/ 167 w 675"/>
                  <a:gd name="T13" fmla="*/ 611 h 611"/>
                  <a:gd name="T14" fmla="*/ 329 w 675"/>
                  <a:gd name="T15" fmla="*/ 449 h 611"/>
                  <a:gd name="T16" fmla="*/ 551 w 675"/>
                  <a:gd name="T17" fmla="*/ 449 h 611"/>
                  <a:gd name="T18" fmla="*/ 675 w 675"/>
                  <a:gd name="T19" fmla="*/ 326 h 611"/>
                  <a:gd name="T20" fmla="*/ 675 w 675"/>
                  <a:gd name="T21" fmla="*/ 123 h 611"/>
                  <a:gd name="T22" fmla="*/ 551 w 675"/>
                  <a:gd name="T23" fmla="*/ 0 h 611"/>
                  <a:gd name="T24" fmla="*/ 630 w 675"/>
                  <a:gd name="T25" fmla="*/ 326 h 611"/>
                  <a:gd name="T26" fmla="*/ 551 w 675"/>
                  <a:gd name="T27" fmla="*/ 405 h 611"/>
                  <a:gd name="T28" fmla="*/ 311 w 675"/>
                  <a:gd name="T29" fmla="*/ 405 h 611"/>
                  <a:gd name="T30" fmla="*/ 212 w 675"/>
                  <a:gd name="T31" fmla="*/ 504 h 611"/>
                  <a:gd name="T32" fmla="*/ 212 w 675"/>
                  <a:gd name="T33" fmla="*/ 405 h 611"/>
                  <a:gd name="T34" fmla="*/ 123 w 675"/>
                  <a:gd name="T35" fmla="*/ 405 h 611"/>
                  <a:gd name="T36" fmla="*/ 44 w 675"/>
                  <a:gd name="T37" fmla="*/ 326 h 611"/>
                  <a:gd name="T38" fmla="*/ 44 w 675"/>
                  <a:gd name="T39" fmla="*/ 123 h 611"/>
                  <a:gd name="T40" fmla="*/ 123 w 675"/>
                  <a:gd name="T41" fmla="*/ 44 h 611"/>
                  <a:gd name="T42" fmla="*/ 551 w 675"/>
                  <a:gd name="T43" fmla="*/ 44 h 611"/>
                  <a:gd name="T44" fmla="*/ 630 w 675"/>
                  <a:gd name="T45" fmla="*/ 123 h 611"/>
                  <a:gd name="T46" fmla="*/ 630 w 675"/>
                  <a:gd name="T47" fmla="*/ 326 h 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75" h="611">
                    <a:moveTo>
                      <a:pt x="551" y="0"/>
                    </a:moveTo>
                    <a:lnTo>
                      <a:pt x="123" y="0"/>
                    </a:lnTo>
                    <a:cubicBezTo>
                      <a:pt x="55" y="0"/>
                      <a:pt x="0" y="55"/>
                      <a:pt x="0" y="123"/>
                    </a:cubicBezTo>
                    <a:lnTo>
                      <a:pt x="0" y="326"/>
                    </a:lnTo>
                    <a:cubicBezTo>
                      <a:pt x="0" y="394"/>
                      <a:pt x="55" y="449"/>
                      <a:pt x="123" y="449"/>
                    </a:cubicBezTo>
                    <a:lnTo>
                      <a:pt x="167" y="449"/>
                    </a:lnTo>
                    <a:lnTo>
                      <a:pt x="167" y="611"/>
                    </a:lnTo>
                    <a:lnTo>
                      <a:pt x="329" y="449"/>
                    </a:lnTo>
                    <a:lnTo>
                      <a:pt x="551" y="449"/>
                    </a:lnTo>
                    <a:cubicBezTo>
                      <a:pt x="619" y="449"/>
                      <a:pt x="675" y="394"/>
                      <a:pt x="675" y="326"/>
                    </a:cubicBezTo>
                    <a:lnTo>
                      <a:pt x="675" y="123"/>
                    </a:lnTo>
                    <a:cubicBezTo>
                      <a:pt x="675" y="55"/>
                      <a:pt x="619" y="0"/>
                      <a:pt x="551" y="0"/>
                    </a:cubicBezTo>
                    <a:close/>
                    <a:moveTo>
                      <a:pt x="630" y="326"/>
                    </a:moveTo>
                    <a:cubicBezTo>
                      <a:pt x="630" y="370"/>
                      <a:pt x="595" y="405"/>
                      <a:pt x="551" y="405"/>
                    </a:cubicBezTo>
                    <a:lnTo>
                      <a:pt x="311" y="405"/>
                    </a:lnTo>
                    <a:lnTo>
                      <a:pt x="212" y="504"/>
                    </a:lnTo>
                    <a:lnTo>
                      <a:pt x="212" y="405"/>
                    </a:lnTo>
                    <a:lnTo>
                      <a:pt x="123" y="405"/>
                    </a:lnTo>
                    <a:cubicBezTo>
                      <a:pt x="80" y="405"/>
                      <a:pt x="44" y="370"/>
                      <a:pt x="44" y="326"/>
                    </a:cubicBezTo>
                    <a:lnTo>
                      <a:pt x="44" y="123"/>
                    </a:lnTo>
                    <a:cubicBezTo>
                      <a:pt x="44" y="80"/>
                      <a:pt x="80" y="44"/>
                      <a:pt x="123" y="44"/>
                    </a:cubicBezTo>
                    <a:lnTo>
                      <a:pt x="551" y="44"/>
                    </a:lnTo>
                    <a:cubicBezTo>
                      <a:pt x="595" y="44"/>
                      <a:pt x="630" y="80"/>
                      <a:pt x="630" y="123"/>
                    </a:cubicBezTo>
                    <a:lnTo>
                      <a:pt x="630" y="326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5" name="Group 34"/>
          <p:cNvGrpSpPr/>
          <p:nvPr/>
        </p:nvGrpSpPr>
        <p:grpSpPr>
          <a:xfrm>
            <a:off x="1001042" y="3297723"/>
            <a:ext cx="923636" cy="923636"/>
            <a:chOff x="1001042" y="3389798"/>
            <a:chExt cx="923636" cy="923636"/>
          </a:xfrm>
        </p:grpSpPr>
        <p:sp>
          <p:nvSpPr>
            <p:cNvPr id="6" name="Oval 5"/>
            <p:cNvSpPr>
              <a:spLocks noChangeAspect="1"/>
            </p:cNvSpPr>
            <p:nvPr>
              <p:custDataLst>
                <p:tags r:id="rId2"/>
              </p:custDataLst>
            </p:nvPr>
          </p:nvSpPr>
          <p:spPr>
            <a:xfrm>
              <a:off x="1001042" y="3389798"/>
              <a:ext cx="923636" cy="923636"/>
            </a:xfrm>
            <a:prstGeom prst="ellipse">
              <a:avLst/>
            </a:prstGeom>
            <a:solidFill>
              <a:schemeClr val="bg1"/>
            </a:solidFill>
            <a:ln w="25400" cap="flat" cmpd="sng" algn="ctr">
              <a:solidFill>
                <a:schemeClr val="bg1">
                  <a:lumMod val="65000"/>
                </a:schemeClr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  <a:scene3d>
                <a:camera prst="orthographicFront">
                  <a:rot lat="0" lon="0" rev="0"/>
                </a:camera>
                <a:lightRig rig="threePt" dir="t"/>
              </a:scene3d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Calibri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9" name="Oval 8"/>
            <p:cNvSpPr>
              <a:spLocks noChangeAspect="1"/>
            </p:cNvSpPr>
            <p:nvPr>
              <p:custDataLst>
                <p:tags r:id="rId3"/>
              </p:custDataLst>
            </p:nvPr>
          </p:nvSpPr>
          <p:spPr>
            <a:xfrm>
              <a:off x="1043026" y="3431782"/>
              <a:ext cx="839669" cy="839669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  <a:scene3d>
                <a:camera prst="orthographicFront">
                  <a:rot lat="0" lon="0" rev="0"/>
                </a:camera>
                <a:lightRig rig="threePt" dir="t"/>
              </a:scene3d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23" name="POWER_USER_ID_ICONS_Atomic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1181215" y="3526883"/>
              <a:ext cx="585788" cy="652463"/>
              <a:chOff x="62" y="39"/>
              <a:chExt cx="369" cy="411"/>
            </a:xfrm>
            <a:solidFill>
              <a:schemeClr val="bg1"/>
            </a:solidFill>
          </p:grpSpPr>
          <p:sp>
            <p:nvSpPr>
              <p:cNvPr id="24" name="POWER_USER_ID_ICONS_Atomic"/>
              <p:cNvSpPr>
                <a:spLocks noEditPoint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175" y="39"/>
                <a:ext cx="142" cy="411"/>
              </a:xfrm>
              <a:custGeom>
                <a:avLst/>
                <a:gdLst>
                  <a:gd name="T0" fmla="*/ 154 w 308"/>
                  <a:gd name="T1" fmla="*/ 0 h 889"/>
                  <a:gd name="T2" fmla="*/ 90 w 308"/>
                  <a:gd name="T3" fmla="*/ 39 h 889"/>
                  <a:gd name="T4" fmla="*/ 43 w 308"/>
                  <a:gd name="T5" fmla="*/ 135 h 889"/>
                  <a:gd name="T6" fmla="*/ 0 w 308"/>
                  <a:gd name="T7" fmla="*/ 445 h 889"/>
                  <a:gd name="T8" fmla="*/ 43 w 308"/>
                  <a:gd name="T9" fmla="*/ 755 h 889"/>
                  <a:gd name="T10" fmla="*/ 90 w 308"/>
                  <a:gd name="T11" fmla="*/ 851 h 889"/>
                  <a:gd name="T12" fmla="*/ 154 w 308"/>
                  <a:gd name="T13" fmla="*/ 889 h 889"/>
                  <a:gd name="T14" fmla="*/ 218 w 308"/>
                  <a:gd name="T15" fmla="*/ 851 h 889"/>
                  <a:gd name="T16" fmla="*/ 265 w 308"/>
                  <a:gd name="T17" fmla="*/ 755 h 889"/>
                  <a:gd name="T18" fmla="*/ 308 w 308"/>
                  <a:gd name="T19" fmla="*/ 445 h 889"/>
                  <a:gd name="T20" fmla="*/ 265 w 308"/>
                  <a:gd name="T21" fmla="*/ 135 h 889"/>
                  <a:gd name="T22" fmla="*/ 218 w 308"/>
                  <a:gd name="T23" fmla="*/ 39 h 889"/>
                  <a:gd name="T24" fmla="*/ 154 w 308"/>
                  <a:gd name="T25" fmla="*/ 0 h 889"/>
                  <a:gd name="T26" fmla="*/ 154 w 308"/>
                  <a:gd name="T27" fmla="*/ 20 h 889"/>
                  <a:gd name="T28" fmla="*/ 202 w 308"/>
                  <a:gd name="T29" fmla="*/ 51 h 889"/>
                  <a:gd name="T30" fmla="*/ 247 w 308"/>
                  <a:gd name="T31" fmla="*/ 141 h 889"/>
                  <a:gd name="T32" fmla="*/ 288 w 308"/>
                  <a:gd name="T33" fmla="*/ 445 h 889"/>
                  <a:gd name="T34" fmla="*/ 247 w 308"/>
                  <a:gd name="T35" fmla="*/ 748 h 889"/>
                  <a:gd name="T36" fmla="*/ 202 w 308"/>
                  <a:gd name="T37" fmla="*/ 838 h 889"/>
                  <a:gd name="T38" fmla="*/ 154 w 308"/>
                  <a:gd name="T39" fmla="*/ 869 h 889"/>
                  <a:gd name="T40" fmla="*/ 106 w 308"/>
                  <a:gd name="T41" fmla="*/ 838 h 889"/>
                  <a:gd name="T42" fmla="*/ 62 w 308"/>
                  <a:gd name="T43" fmla="*/ 748 h 889"/>
                  <a:gd name="T44" fmla="*/ 20 w 308"/>
                  <a:gd name="T45" fmla="*/ 445 h 889"/>
                  <a:gd name="T46" fmla="*/ 62 w 308"/>
                  <a:gd name="T47" fmla="*/ 141 h 889"/>
                  <a:gd name="T48" fmla="*/ 106 w 308"/>
                  <a:gd name="T49" fmla="*/ 51 h 889"/>
                  <a:gd name="T50" fmla="*/ 154 w 308"/>
                  <a:gd name="T51" fmla="*/ 20 h 8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8" h="889">
                    <a:moveTo>
                      <a:pt x="154" y="0"/>
                    </a:moveTo>
                    <a:cubicBezTo>
                      <a:pt x="130" y="0"/>
                      <a:pt x="109" y="15"/>
                      <a:pt x="90" y="39"/>
                    </a:cubicBezTo>
                    <a:cubicBezTo>
                      <a:pt x="72" y="62"/>
                      <a:pt x="56" y="95"/>
                      <a:pt x="43" y="135"/>
                    </a:cubicBezTo>
                    <a:cubicBezTo>
                      <a:pt x="16" y="214"/>
                      <a:pt x="0" y="324"/>
                      <a:pt x="0" y="445"/>
                    </a:cubicBezTo>
                    <a:cubicBezTo>
                      <a:pt x="0" y="565"/>
                      <a:pt x="16" y="675"/>
                      <a:pt x="43" y="755"/>
                    </a:cubicBezTo>
                    <a:cubicBezTo>
                      <a:pt x="56" y="795"/>
                      <a:pt x="72" y="827"/>
                      <a:pt x="90" y="851"/>
                    </a:cubicBezTo>
                    <a:cubicBezTo>
                      <a:pt x="109" y="874"/>
                      <a:pt x="130" y="889"/>
                      <a:pt x="154" y="889"/>
                    </a:cubicBezTo>
                    <a:cubicBezTo>
                      <a:pt x="178" y="889"/>
                      <a:pt x="200" y="874"/>
                      <a:pt x="218" y="851"/>
                    </a:cubicBezTo>
                    <a:cubicBezTo>
                      <a:pt x="237" y="827"/>
                      <a:pt x="252" y="795"/>
                      <a:pt x="265" y="755"/>
                    </a:cubicBezTo>
                    <a:cubicBezTo>
                      <a:pt x="292" y="675"/>
                      <a:pt x="308" y="565"/>
                      <a:pt x="308" y="445"/>
                    </a:cubicBezTo>
                    <a:cubicBezTo>
                      <a:pt x="308" y="324"/>
                      <a:pt x="292" y="214"/>
                      <a:pt x="265" y="135"/>
                    </a:cubicBezTo>
                    <a:cubicBezTo>
                      <a:pt x="252" y="95"/>
                      <a:pt x="237" y="62"/>
                      <a:pt x="218" y="39"/>
                    </a:cubicBezTo>
                    <a:cubicBezTo>
                      <a:pt x="200" y="15"/>
                      <a:pt x="178" y="0"/>
                      <a:pt x="154" y="0"/>
                    </a:cubicBezTo>
                    <a:close/>
                    <a:moveTo>
                      <a:pt x="154" y="20"/>
                    </a:moveTo>
                    <a:cubicBezTo>
                      <a:pt x="170" y="20"/>
                      <a:pt x="186" y="30"/>
                      <a:pt x="202" y="51"/>
                    </a:cubicBezTo>
                    <a:cubicBezTo>
                      <a:pt x="218" y="71"/>
                      <a:pt x="234" y="102"/>
                      <a:pt x="247" y="141"/>
                    </a:cubicBezTo>
                    <a:cubicBezTo>
                      <a:pt x="272" y="218"/>
                      <a:pt x="288" y="326"/>
                      <a:pt x="288" y="445"/>
                    </a:cubicBezTo>
                    <a:cubicBezTo>
                      <a:pt x="288" y="563"/>
                      <a:pt x="272" y="671"/>
                      <a:pt x="247" y="748"/>
                    </a:cubicBezTo>
                    <a:cubicBezTo>
                      <a:pt x="234" y="787"/>
                      <a:pt x="218" y="818"/>
                      <a:pt x="202" y="838"/>
                    </a:cubicBezTo>
                    <a:cubicBezTo>
                      <a:pt x="186" y="859"/>
                      <a:pt x="170" y="869"/>
                      <a:pt x="154" y="869"/>
                    </a:cubicBezTo>
                    <a:cubicBezTo>
                      <a:pt x="138" y="869"/>
                      <a:pt x="122" y="859"/>
                      <a:pt x="106" y="838"/>
                    </a:cubicBezTo>
                    <a:cubicBezTo>
                      <a:pt x="90" y="818"/>
                      <a:pt x="75" y="787"/>
                      <a:pt x="62" y="748"/>
                    </a:cubicBezTo>
                    <a:cubicBezTo>
                      <a:pt x="36" y="671"/>
                      <a:pt x="20" y="563"/>
                      <a:pt x="20" y="445"/>
                    </a:cubicBezTo>
                    <a:cubicBezTo>
                      <a:pt x="20" y="326"/>
                      <a:pt x="36" y="218"/>
                      <a:pt x="62" y="141"/>
                    </a:cubicBezTo>
                    <a:cubicBezTo>
                      <a:pt x="75" y="102"/>
                      <a:pt x="90" y="71"/>
                      <a:pt x="106" y="51"/>
                    </a:cubicBezTo>
                    <a:cubicBezTo>
                      <a:pt x="122" y="30"/>
                      <a:pt x="138" y="20"/>
                      <a:pt x="154" y="2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5" name="POWER_USER_ID_ICONS_Atomic"/>
              <p:cNvSpPr>
                <a:spLocks noEditPoint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88" y="93"/>
                <a:ext cx="317" cy="303"/>
              </a:xfrm>
              <a:custGeom>
                <a:avLst/>
                <a:gdLst>
                  <a:gd name="T0" fmla="*/ 667 w 688"/>
                  <a:gd name="T1" fmla="*/ 23 h 655"/>
                  <a:gd name="T2" fmla="*/ 596 w 688"/>
                  <a:gd name="T3" fmla="*/ 3 h 655"/>
                  <a:gd name="T4" fmla="*/ 494 w 688"/>
                  <a:gd name="T5" fmla="*/ 34 h 655"/>
                  <a:gd name="T6" fmla="*/ 239 w 688"/>
                  <a:gd name="T7" fmla="*/ 216 h 655"/>
                  <a:gd name="T8" fmla="*/ 42 w 688"/>
                  <a:gd name="T9" fmla="*/ 459 h 655"/>
                  <a:gd name="T10" fmla="*/ 5 w 688"/>
                  <a:gd name="T11" fmla="*/ 560 h 655"/>
                  <a:gd name="T12" fmla="*/ 21 w 688"/>
                  <a:gd name="T13" fmla="*/ 632 h 655"/>
                  <a:gd name="T14" fmla="*/ 93 w 688"/>
                  <a:gd name="T15" fmla="*/ 653 h 655"/>
                  <a:gd name="T16" fmla="*/ 195 w 688"/>
                  <a:gd name="T17" fmla="*/ 621 h 655"/>
                  <a:gd name="T18" fmla="*/ 450 w 688"/>
                  <a:gd name="T19" fmla="*/ 440 h 655"/>
                  <a:gd name="T20" fmla="*/ 646 w 688"/>
                  <a:gd name="T21" fmla="*/ 196 h 655"/>
                  <a:gd name="T22" fmla="*/ 684 w 688"/>
                  <a:gd name="T23" fmla="*/ 96 h 655"/>
                  <a:gd name="T24" fmla="*/ 667 w 688"/>
                  <a:gd name="T25" fmla="*/ 23 h 655"/>
                  <a:gd name="T26" fmla="*/ 653 w 688"/>
                  <a:gd name="T27" fmla="*/ 37 h 655"/>
                  <a:gd name="T28" fmla="*/ 664 w 688"/>
                  <a:gd name="T29" fmla="*/ 92 h 655"/>
                  <a:gd name="T30" fmla="*/ 629 w 688"/>
                  <a:gd name="T31" fmla="*/ 186 h 655"/>
                  <a:gd name="T32" fmla="*/ 436 w 688"/>
                  <a:gd name="T33" fmla="*/ 425 h 655"/>
                  <a:gd name="T34" fmla="*/ 187 w 688"/>
                  <a:gd name="T35" fmla="*/ 603 h 655"/>
                  <a:gd name="T36" fmla="*/ 91 w 688"/>
                  <a:gd name="T37" fmla="*/ 633 h 655"/>
                  <a:gd name="T38" fmla="*/ 36 w 688"/>
                  <a:gd name="T39" fmla="*/ 618 h 655"/>
                  <a:gd name="T40" fmla="*/ 25 w 688"/>
                  <a:gd name="T41" fmla="*/ 562 h 655"/>
                  <a:gd name="T42" fmla="*/ 60 w 688"/>
                  <a:gd name="T43" fmla="*/ 469 h 655"/>
                  <a:gd name="T44" fmla="*/ 253 w 688"/>
                  <a:gd name="T45" fmla="*/ 230 h 655"/>
                  <a:gd name="T46" fmla="*/ 502 w 688"/>
                  <a:gd name="T47" fmla="*/ 52 h 655"/>
                  <a:gd name="T48" fmla="*/ 598 w 688"/>
                  <a:gd name="T49" fmla="*/ 22 h 655"/>
                  <a:gd name="T50" fmla="*/ 653 w 688"/>
                  <a:gd name="T51" fmla="*/ 37 h 6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88" h="655">
                    <a:moveTo>
                      <a:pt x="667" y="23"/>
                    </a:moveTo>
                    <a:cubicBezTo>
                      <a:pt x="651" y="6"/>
                      <a:pt x="626" y="0"/>
                      <a:pt x="596" y="3"/>
                    </a:cubicBezTo>
                    <a:cubicBezTo>
                      <a:pt x="566" y="5"/>
                      <a:pt x="532" y="16"/>
                      <a:pt x="494" y="34"/>
                    </a:cubicBezTo>
                    <a:cubicBezTo>
                      <a:pt x="417" y="69"/>
                      <a:pt x="327" y="133"/>
                      <a:pt x="239" y="216"/>
                    </a:cubicBezTo>
                    <a:cubicBezTo>
                      <a:pt x="151" y="298"/>
                      <a:pt x="82" y="385"/>
                      <a:pt x="42" y="459"/>
                    </a:cubicBezTo>
                    <a:cubicBezTo>
                      <a:pt x="22" y="496"/>
                      <a:pt x="9" y="530"/>
                      <a:pt x="5" y="560"/>
                    </a:cubicBezTo>
                    <a:cubicBezTo>
                      <a:pt x="0" y="589"/>
                      <a:pt x="5" y="615"/>
                      <a:pt x="21" y="632"/>
                    </a:cubicBezTo>
                    <a:cubicBezTo>
                      <a:pt x="38" y="649"/>
                      <a:pt x="63" y="655"/>
                      <a:pt x="93" y="653"/>
                    </a:cubicBezTo>
                    <a:cubicBezTo>
                      <a:pt x="122" y="650"/>
                      <a:pt x="157" y="639"/>
                      <a:pt x="195" y="621"/>
                    </a:cubicBezTo>
                    <a:cubicBezTo>
                      <a:pt x="271" y="586"/>
                      <a:pt x="362" y="522"/>
                      <a:pt x="450" y="440"/>
                    </a:cubicBezTo>
                    <a:cubicBezTo>
                      <a:pt x="538" y="357"/>
                      <a:pt x="606" y="270"/>
                      <a:pt x="646" y="196"/>
                    </a:cubicBezTo>
                    <a:cubicBezTo>
                      <a:pt x="666" y="159"/>
                      <a:pt x="679" y="125"/>
                      <a:pt x="684" y="96"/>
                    </a:cubicBezTo>
                    <a:cubicBezTo>
                      <a:pt x="688" y="66"/>
                      <a:pt x="684" y="40"/>
                      <a:pt x="667" y="23"/>
                    </a:cubicBezTo>
                    <a:close/>
                    <a:moveTo>
                      <a:pt x="653" y="37"/>
                    </a:moveTo>
                    <a:cubicBezTo>
                      <a:pt x="664" y="48"/>
                      <a:pt x="668" y="67"/>
                      <a:pt x="664" y="92"/>
                    </a:cubicBezTo>
                    <a:cubicBezTo>
                      <a:pt x="660" y="118"/>
                      <a:pt x="648" y="151"/>
                      <a:pt x="629" y="186"/>
                    </a:cubicBezTo>
                    <a:cubicBezTo>
                      <a:pt x="590" y="258"/>
                      <a:pt x="523" y="343"/>
                      <a:pt x="436" y="425"/>
                    </a:cubicBezTo>
                    <a:cubicBezTo>
                      <a:pt x="350" y="507"/>
                      <a:pt x="260" y="569"/>
                      <a:pt x="187" y="603"/>
                    </a:cubicBezTo>
                    <a:cubicBezTo>
                      <a:pt x="150" y="620"/>
                      <a:pt x="117" y="630"/>
                      <a:pt x="91" y="633"/>
                    </a:cubicBezTo>
                    <a:cubicBezTo>
                      <a:pt x="65" y="635"/>
                      <a:pt x="46" y="630"/>
                      <a:pt x="36" y="618"/>
                    </a:cubicBezTo>
                    <a:cubicBezTo>
                      <a:pt x="25" y="607"/>
                      <a:pt x="21" y="588"/>
                      <a:pt x="25" y="562"/>
                    </a:cubicBezTo>
                    <a:cubicBezTo>
                      <a:pt x="29" y="537"/>
                      <a:pt x="41" y="504"/>
                      <a:pt x="60" y="469"/>
                    </a:cubicBezTo>
                    <a:cubicBezTo>
                      <a:pt x="99" y="397"/>
                      <a:pt x="166" y="312"/>
                      <a:pt x="253" y="230"/>
                    </a:cubicBezTo>
                    <a:cubicBezTo>
                      <a:pt x="339" y="149"/>
                      <a:pt x="428" y="86"/>
                      <a:pt x="502" y="52"/>
                    </a:cubicBezTo>
                    <a:cubicBezTo>
                      <a:pt x="539" y="35"/>
                      <a:pt x="572" y="25"/>
                      <a:pt x="598" y="22"/>
                    </a:cubicBezTo>
                    <a:cubicBezTo>
                      <a:pt x="624" y="20"/>
                      <a:pt x="642" y="25"/>
                      <a:pt x="653" y="3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6" name="POWER_USER_ID_ICONS_Atomic"/>
              <p:cNvSpPr>
                <a:spLocks noEditPoints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62" y="125"/>
                <a:ext cx="369" cy="239"/>
              </a:xfrm>
              <a:custGeom>
                <a:avLst/>
                <a:gdLst>
                  <a:gd name="T0" fmla="*/ 787 w 799"/>
                  <a:gd name="T1" fmla="*/ 475 h 517"/>
                  <a:gd name="T2" fmla="*/ 785 w 799"/>
                  <a:gd name="T3" fmla="*/ 401 h 517"/>
                  <a:gd name="T4" fmla="*/ 724 w 799"/>
                  <a:gd name="T5" fmla="*/ 312 h 517"/>
                  <a:gd name="T6" fmla="*/ 474 w 799"/>
                  <a:gd name="T7" fmla="*/ 124 h 517"/>
                  <a:gd name="T8" fmla="*/ 183 w 799"/>
                  <a:gd name="T9" fmla="*/ 10 h 517"/>
                  <a:gd name="T10" fmla="*/ 76 w 799"/>
                  <a:gd name="T11" fmla="*/ 5 h 517"/>
                  <a:gd name="T12" fmla="*/ 12 w 799"/>
                  <a:gd name="T13" fmla="*/ 42 h 517"/>
                  <a:gd name="T14" fmla="*/ 13 w 799"/>
                  <a:gd name="T15" fmla="*/ 117 h 517"/>
                  <a:gd name="T16" fmla="*/ 74 w 799"/>
                  <a:gd name="T17" fmla="*/ 205 h 517"/>
                  <a:gd name="T18" fmla="*/ 324 w 799"/>
                  <a:gd name="T19" fmla="*/ 393 h 517"/>
                  <a:gd name="T20" fmla="*/ 616 w 799"/>
                  <a:gd name="T21" fmla="*/ 507 h 517"/>
                  <a:gd name="T22" fmla="*/ 723 w 799"/>
                  <a:gd name="T23" fmla="*/ 512 h 517"/>
                  <a:gd name="T24" fmla="*/ 787 w 799"/>
                  <a:gd name="T25" fmla="*/ 475 h 517"/>
                  <a:gd name="T26" fmla="*/ 770 w 799"/>
                  <a:gd name="T27" fmla="*/ 465 h 517"/>
                  <a:gd name="T28" fmla="*/ 720 w 799"/>
                  <a:gd name="T29" fmla="*/ 492 h 517"/>
                  <a:gd name="T30" fmla="*/ 620 w 799"/>
                  <a:gd name="T31" fmla="*/ 487 h 517"/>
                  <a:gd name="T32" fmla="*/ 334 w 799"/>
                  <a:gd name="T33" fmla="*/ 376 h 517"/>
                  <a:gd name="T34" fmla="*/ 89 w 799"/>
                  <a:gd name="T35" fmla="*/ 191 h 517"/>
                  <a:gd name="T36" fmla="*/ 32 w 799"/>
                  <a:gd name="T37" fmla="*/ 109 h 517"/>
                  <a:gd name="T38" fmla="*/ 29 w 799"/>
                  <a:gd name="T39" fmla="*/ 52 h 517"/>
                  <a:gd name="T40" fmla="*/ 79 w 799"/>
                  <a:gd name="T41" fmla="*/ 25 h 517"/>
                  <a:gd name="T42" fmla="*/ 179 w 799"/>
                  <a:gd name="T43" fmla="*/ 30 h 517"/>
                  <a:gd name="T44" fmla="*/ 465 w 799"/>
                  <a:gd name="T45" fmla="*/ 142 h 517"/>
                  <a:gd name="T46" fmla="*/ 710 w 799"/>
                  <a:gd name="T47" fmla="*/ 326 h 517"/>
                  <a:gd name="T48" fmla="*/ 767 w 799"/>
                  <a:gd name="T49" fmla="*/ 408 h 517"/>
                  <a:gd name="T50" fmla="*/ 770 w 799"/>
                  <a:gd name="T51" fmla="*/ 465 h 5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799" h="517">
                    <a:moveTo>
                      <a:pt x="787" y="475"/>
                    </a:moveTo>
                    <a:cubicBezTo>
                      <a:pt x="799" y="454"/>
                      <a:pt x="796" y="428"/>
                      <a:pt x="785" y="401"/>
                    </a:cubicBezTo>
                    <a:cubicBezTo>
                      <a:pt x="774" y="373"/>
                      <a:pt x="753" y="343"/>
                      <a:pt x="724" y="312"/>
                    </a:cubicBezTo>
                    <a:cubicBezTo>
                      <a:pt x="667" y="250"/>
                      <a:pt x="580" y="183"/>
                      <a:pt x="474" y="124"/>
                    </a:cubicBezTo>
                    <a:cubicBezTo>
                      <a:pt x="369" y="65"/>
                      <a:pt x="265" y="26"/>
                      <a:pt x="183" y="10"/>
                    </a:cubicBezTo>
                    <a:cubicBezTo>
                      <a:pt x="141" y="2"/>
                      <a:pt x="105" y="0"/>
                      <a:pt x="76" y="5"/>
                    </a:cubicBezTo>
                    <a:cubicBezTo>
                      <a:pt x="46" y="10"/>
                      <a:pt x="23" y="21"/>
                      <a:pt x="12" y="42"/>
                    </a:cubicBezTo>
                    <a:cubicBezTo>
                      <a:pt x="0" y="63"/>
                      <a:pt x="2" y="89"/>
                      <a:pt x="13" y="117"/>
                    </a:cubicBezTo>
                    <a:cubicBezTo>
                      <a:pt x="25" y="144"/>
                      <a:pt x="46" y="174"/>
                      <a:pt x="74" y="205"/>
                    </a:cubicBezTo>
                    <a:cubicBezTo>
                      <a:pt x="131" y="267"/>
                      <a:pt x="219" y="334"/>
                      <a:pt x="324" y="393"/>
                    </a:cubicBezTo>
                    <a:cubicBezTo>
                      <a:pt x="430" y="452"/>
                      <a:pt x="533" y="491"/>
                      <a:pt x="616" y="507"/>
                    </a:cubicBezTo>
                    <a:cubicBezTo>
                      <a:pt x="657" y="515"/>
                      <a:pt x="693" y="517"/>
                      <a:pt x="723" y="512"/>
                    </a:cubicBezTo>
                    <a:cubicBezTo>
                      <a:pt x="752" y="508"/>
                      <a:pt x="776" y="496"/>
                      <a:pt x="787" y="475"/>
                    </a:cubicBezTo>
                    <a:close/>
                    <a:moveTo>
                      <a:pt x="770" y="465"/>
                    </a:moveTo>
                    <a:cubicBezTo>
                      <a:pt x="762" y="479"/>
                      <a:pt x="746" y="488"/>
                      <a:pt x="720" y="492"/>
                    </a:cubicBezTo>
                    <a:cubicBezTo>
                      <a:pt x="694" y="496"/>
                      <a:pt x="660" y="495"/>
                      <a:pt x="620" y="487"/>
                    </a:cubicBezTo>
                    <a:cubicBezTo>
                      <a:pt x="540" y="472"/>
                      <a:pt x="438" y="434"/>
                      <a:pt x="334" y="376"/>
                    </a:cubicBezTo>
                    <a:cubicBezTo>
                      <a:pt x="230" y="318"/>
                      <a:pt x="144" y="251"/>
                      <a:pt x="89" y="191"/>
                    </a:cubicBezTo>
                    <a:cubicBezTo>
                      <a:pt x="62" y="162"/>
                      <a:pt x="42" y="133"/>
                      <a:pt x="32" y="109"/>
                    </a:cubicBezTo>
                    <a:cubicBezTo>
                      <a:pt x="22" y="85"/>
                      <a:pt x="21" y="66"/>
                      <a:pt x="29" y="52"/>
                    </a:cubicBezTo>
                    <a:cubicBezTo>
                      <a:pt x="37" y="38"/>
                      <a:pt x="53" y="29"/>
                      <a:pt x="79" y="25"/>
                    </a:cubicBezTo>
                    <a:cubicBezTo>
                      <a:pt x="105" y="21"/>
                      <a:pt x="139" y="23"/>
                      <a:pt x="179" y="30"/>
                    </a:cubicBezTo>
                    <a:cubicBezTo>
                      <a:pt x="259" y="45"/>
                      <a:pt x="361" y="84"/>
                      <a:pt x="465" y="142"/>
                    </a:cubicBezTo>
                    <a:cubicBezTo>
                      <a:pt x="568" y="200"/>
                      <a:pt x="655" y="266"/>
                      <a:pt x="710" y="326"/>
                    </a:cubicBezTo>
                    <a:cubicBezTo>
                      <a:pt x="737" y="356"/>
                      <a:pt x="757" y="384"/>
                      <a:pt x="767" y="408"/>
                    </a:cubicBezTo>
                    <a:cubicBezTo>
                      <a:pt x="777" y="432"/>
                      <a:pt x="777" y="451"/>
                      <a:pt x="770" y="46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7" name="POWER_USER_ID_ICONS_Atomic"/>
              <p:cNvSpPr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70" y="180"/>
                <a:ext cx="37" cy="38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8" name="POWER_USER_ID_ICONS_Atomic"/>
              <p:cNvSpPr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351" y="183"/>
                <a:ext cx="37" cy="3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9" name="POWER_USER_ID_ICONS_Atomic"/>
              <p:cNvSpPr>
                <a:spLocks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278" y="362"/>
                <a:ext cx="38" cy="3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0" name="POWER_USER_ID_ICONS_Atomic"/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209" y="212"/>
                <a:ext cx="42" cy="37"/>
              </a:xfrm>
              <a:custGeom>
                <a:avLst/>
                <a:gdLst>
                  <a:gd name="T0" fmla="*/ 48 w 91"/>
                  <a:gd name="T1" fmla="*/ 0 h 81"/>
                  <a:gd name="T2" fmla="*/ 0 w 91"/>
                  <a:gd name="T3" fmla="*/ 50 h 81"/>
                  <a:gd name="T4" fmla="*/ 11 w 91"/>
                  <a:gd name="T5" fmla="*/ 81 h 81"/>
                  <a:gd name="T6" fmla="*/ 59 w 91"/>
                  <a:gd name="T7" fmla="*/ 59 h 81"/>
                  <a:gd name="T8" fmla="*/ 60 w 91"/>
                  <a:gd name="T9" fmla="*/ 59 h 81"/>
                  <a:gd name="T10" fmla="*/ 91 w 91"/>
                  <a:gd name="T11" fmla="*/ 28 h 81"/>
                  <a:gd name="T12" fmla="*/ 48 w 91"/>
                  <a:gd name="T13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1" h="81">
                    <a:moveTo>
                      <a:pt x="48" y="0"/>
                    </a:moveTo>
                    <a:cubicBezTo>
                      <a:pt x="22" y="0"/>
                      <a:pt x="0" y="23"/>
                      <a:pt x="0" y="50"/>
                    </a:cubicBezTo>
                    <a:cubicBezTo>
                      <a:pt x="0" y="62"/>
                      <a:pt x="4" y="73"/>
                      <a:pt x="11" y="81"/>
                    </a:cubicBezTo>
                    <a:cubicBezTo>
                      <a:pt x="23" y="68"/>
                      <a:pt x="40" y="59"/>
                      <a:pt x="59" y="59"/>
                    </a:cubicBezTo>
                    <a:cubicBezTo>
                      <a:pt x="59" y="59"/>
                      <a:pt x="60" y="59"/>
                      <a:pt x="60" y="59"/>
                    </a:cubicBezTo>
                    <a:cubicBezTo>
                      <a:pt x="67" y="45"/>
                      <a:pt x="78" y="34"/>
                      <a:pt x="91" y="28"/>
                    </a:cubicBezTo>
                    <a:cubicBezTo>
                      <a:pt x="83" y="12"/>
                      <a:pt x="67" y="0"/>
                      <a:pt x="48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1" name="POWER_USER_ID_ICONS_Atomic"/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212" y="244"/>
                <a:ext cx="40" cy="46"/>
              </a:xfrm>
              <a:custGeom>
                <a:avLst/>
                <a:gdLst>
                  <a:gd name="T0" fmla="*/ 49 w 87"/>
                  <a:gd name="T1" fmla="*/ 0 h 100"/>
                  <a:gd name="T2" fmla="*/ 0 w 87"/>
                  <a:gd name="T3" fmla="*/ 50 h 100"/>
                  <a:gd name="T4" fmla="*/ 49 w 87"/>
                  <a:gd name="T5" fmla="*/ 100 h 100"/>
                  <a:gd name="T6" fmla="*/ 87 w 87"/>
                  <a:gd name="T7" fmla="*/ 81 h 100"/>
                  <a:gd name="T8" fmla="*/ 51 w 87"/>
                  <a:gd name="T9" fmla="*/ 20 h 100"/>
                  <a:gd name="T10" fmla="*/ 54 w 87"/>
                  <a:gd name="T11" fmla="*/ 0 h 100"/>
                  <a:gd name="T12" fmla="*/ 49 w 87"/>
                  <a:gd name="T13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7" h="100">
                    <a:moveTo>
                      <a:pt x="49" y="0"/>
                    </a:moveTo>
                    <a:cubicBezTo>
                      <a:pt x="22" y="0"/>
                      <a:pt x="0" y="23"/>
                      <a:pt x="0" y="50"/>
                    </a:cubicBezTo>
                    <a:cubicBezTo>
                      <a:pt x="0" y="78"/>
                      <a:pt x="22" y="100"/>
                      <a:pt x="49" y="100"/>
                    </a:cubicBezTo>
                    <a:cubicBezTo>
                      <a:pt x="64" y="100"/>
                      <a:pt x="78" y="93"/>
                      <a:pt x="87" y="81"/>
                    </a:cubicBezTo>
                    <a:cubicBezTo>
                      <a:pt x="66" y="69"/>
                      <a:pt x="51" y="46"/>
                      <a:pt x="51" y="20"/>
                    </a:cubicBezTo>
                    <a:cubicBezTo>
                      <a:pt x="51" y="13"/>
                      <a:pt x="52" y="7"/>
                      <a:pt x="54" y="0"/>
                    </a:cubicBezTo>
                    <a:cubicBezTo>
                      <a:pt x="52" y="0"/>
                      <a:pt x="51" y="0"/>
                      <a:pt x="49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2" name="POWER_USER_ID_ICONS_Atomic"/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239" y="216"/>
                <a:ext cx="52" cy="63"/>
              </a:xfrm>
              <a:custGeom>
                <a:avLst/>
                <a:gdLst>
                  <a:gd name="T0" fmla="*/ 112 w 112"/>
                  <a:gd name="T1" fmla="*/ 77 h 135"/>
                  <a:gd name="T2" fmla="*/ 56 w 112"/>
                  <a:gd name="T3" fmla="*/ 135 h 135"/>
                  <a:gd name="T4" fmla="*/ 0 w 112"/>
                  <a:gd name="T5" fmla="*/ 77 h 135"/>
                  <a:gd name="T6" fmla="*/ 112 w 112"/>
                  <a:gd name="T7" fmla="*/ 7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2" h="135">
                    <a:moveTo>
                      <a:pt x="112" y="77"/>
                    </a:moveTo>
                    <a:cubicBezTo>
                      <a:pt x="112" y="109"/>
                      <a:pt x="87" y="135"/>
                      <a:pt x="56" y="135"/>
                    </a:cubicBezTo>
                    <a:cubicBezTo>
                      <a:pt x="25" y="135"/>
                      <a:pt x="0" y="109"/>
                      <a:pt x="0" y="77"/>
                    </a:cubicBezTo>
                    <a:cubicBezTo>
                      <a:pt x="0" y="0"/>
                      <a:pt x="112" y="0"/>
                      <a:pt x="112" y="7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9" name="Group 38"/>
          <p:cNvGrpSpPr/>
          <p:nvPr/>
        </p:nvGrpSpPr>
        <p:grpSpPr>
          <a:xfrm>
            <a:off x="2080590" y="1464366"/>
            <a:ext cx="5120310" cy="1107996"/>
            <a:chOff x="2080590" y="1553266"/>
            <a:chExt cx="5120310" cy="1107996"/>
          </a:xfrm>
        </p:grpSpPr>
        <p:sp>
          <p:nvSpPr>
            <p:cNvPr id="37" name="TextBox 36"/>
            <p:cNvSpPr txBox="1"/>
            <p:nvPr/>
          </p:nvSpPr>
          <p:spPr>
            <a:xfrm>
              <a:off x="2080590" y="2014931"/>
              <a:ext cx="512031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dirty="0">
                  <a:solidFill>
                    <a:prstClr val="black"/>
                  </a:solidFill>
                  <a:latin typeface="Calibri"/>
                </a:rPr>
                <a:t>It</a:t>
              </a: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consists of encoding layers that process the input iteratively one layer after another</a:t>
              </a: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2080590" y="1553266"/>
              <a:ext cx="512031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464646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ncoders</a:t>
              </a:r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2080590" y="3216017"/>
            <a:ext cx="5120310" cy="1661994"/>
            <a:chOff x="2080590" y="1553266"/>
            <a:chExt cx="5120310" cy="1661994"/>
          </a:xfrm>
        </p:grpSpPr>
        <p:sp>
          <p:nvSpPr>
            <p:cNvPr id="41" name="TextBox 40"/>
            <p:cNvSpPr txBox="1"/>
            <p:nvPr/>
          </p:nvSpPr>
          <p:spPr>
            <a:xfrm>
              <a:off x="2080590" y="2014931"/>
              <a:ext cx="5120310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dirty="0">
                  <a:solidFill>
                    <a:prstClr val="black"/>
                  </a:solidFill>
                  <a:latin typeface="Calibri"/>
                </a:rPr>
                <a:t>consists</a:t>
              </a: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two multi-headed attention layers, a pointwise feed-forward layer, and residual connections, and layer normalization after each sub-layer.</a:t>
              </a: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2080590" y="1553266"/>
              <a:ext cx="512031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2DA2B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ecoders</a:t>
              </a:r>
            </a:p>
          </p:txBody>
        </p:sp>
      </p:grpSp>
      <p:pic>
        <p:nvPicPr>
          <p:cNvPr id="4098" name="Picture 2">
            <a:extLst>
              <a:ext uri="{FF2B5EF4-FFF2-40B4-BE49-F238E27FC236}">
                <a16:creationId xmlns:a16="http://schemas.microsoft.com/office/drawing/2014/main" id="{7E218472-4014-4B78-8CB1-B0BBFF29A6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0899" y="64168"/>
            <a:ext cx="4940275" cy="612006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43" name="Picture 2">
            <a:extLst>
              <a:ext uri="{FF2B5EF4-FFF2-40B4-BE49-F238E27FC236}">
                <a16:creationId xmlns:a16="http://schemas.microsoft.com/office/drawing/2014/main" id="{B750E93E-C134-3118-9E5A-2DADED007A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3299" y="64168"/>
            <a:ext cx="4940275" cy="635492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E9839808-961D-2F8C-C21C-29E6C9465FB3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BEBA8EAE-BF5A-486C-A8C5-ECC9F3942E4B}">
                <a14:imgProps xmlns:a14="http://schemas.microsoft.com/office/drawing/2010/main">
                  <a14:imgLayer r:embed="rId32">
                    <a14:imgEffect>
                      <a14:backgroundRemoval t="645" b="100000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286282" y="64168"/>
            <a:ext cx="1159691" cy="9822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957016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6368022" y="142333"/>
            <a:ext cx="2934905" cy="685800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23000">
                <a:srgbClr val="FBFBFB">
                  <a:alpha val="99000"/>
                </a:srgbClr>
              </a:gs>
              <a:gs pos="52000">
                <a:srgbClr val="F7F7F7">
                  <a:lumMod val="100000"/>
                  <a:alpha val="80000"/>
                </a:srgbClr>
              </a:gs>
              <a:gs pos="77000">
                <a:srgbClr val="F5F5F5">
                  <a:alpha val="40000"/>
                </a:srgbClr>
              </a:gs>
              <a:gs pos="100000">
                <a:schemeClr val="bg1">
                  <a:lumMod val="95000"/>
                  <a:alpha val="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2117558" y="274638"/>
            <a:ext cx="13699958" cy="706090"/>
          </a:xfrm>
        </p:spPr>
        <p:txBody>
          <a:bodyPr>
            <a:noAutofit/>
          </a:bodyPr>
          <a:lstStyle/>
          <a:p>
            <a:pPr algn="ctr"/>
            <a:r>
              <a:rPr lang="en-US" sz="5400" b="1" dirty="0">
                <a:latin typeface="Bahnschrift Condensed" panose="020B0502040204020203" pitchFamily="34" charset="0"/>
              </a:rPr>
              <a:t>Encoder</a:t>
            </a:r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F2126BA9-7B46-4A3B-906C-61ED9C669C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2379" y="200526"/>
            <a:ext cx="5189621" cy="57671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781E44B-8653-4E9F-A5F8-D44AB2563B8E}"/>
              </a:ext>
            </a:extLst>
          </p:cNvPr>
          <p:cNvSpPr txBox="1"/>
          <p:nvPr/>
        </p:nvSpPr>
        <p:spPr>
          <a:xfrm>
            <a:off x="721894" y="1620253"/>
            <a:ext cx="5799221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 fontAlgn="base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2222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The encoder’s inputs first flow through a self-attention layer .</a:t>
            </a:r>
          </a:p>
          <a:p>
            <a:pPr algn="l" fontAlgn="base"/>
            <a:endParaRPr lang="en-US" b="0" i="0" dirty="0">
              <a:solidFill>
                <a:srgbClr val="222222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l" fontAlgn="base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2222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The outputs of the self-attention layer are fed to a feed-forward neural network. </a:t>
            </a:r>
          </a:p>
          <a:p>
            <a:pPr marL="285750" indent="-285750" algn="l" fontAlgn="base">
              <a:buFont typeface="Arial" panose="020B0604020202020204" pitchFamily="34" charset="0"/>
              <a:buChar char="•"/>
            </a:pPr>
            <a:endParaRPr lang="en-US" b="0" i="0" dirty="0">
              <a:solidFill>
                <a:srgbClr val="222222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l" fontAlgn="base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2222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The exact same feed-forward network is independently applied to each </a:t>
            </a:r>
            <a:r>
              <a:rPr lang="en-US" b="0" i="0">
                <a:solidFill>
                  <a:srgbClr val="22222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position.</a:t>
            </a:r>
          </a:p>
          <a:p>
            <a:pPr algn="l" fontAlgn="base"/>
            <a:endParaRPr lang="en-US" b="0" i="0" dirty="0">
              <a:solidFill>
                <a:srgbClr val="222222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l" fontAlgn="base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22222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elf –attention tells where we should focus in output language for determining the next word.</a:t>
            </a:r>
            <a:endParaRPr lang="en-US" b="0" i="0" dirty="0">
              <a:solidFill>
                <a:srgbClr val="222222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br>
              <a:rPr lang="en-US" dirty="0"/>
            </a:br>
            <a:endParaRPr lang="en-IN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F01183EE-4113-4E71-2553-0DC342E49C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2379" y="24062"/>
            <a:ext cx="4940275" cy="612006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000655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7584496" y="142333"/>
            <a:ext cx="3733209" cy="685800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23000">
                <a:srgbClr val="FBFBFB">
                  <a:alpha val="99000"/>
                </a:srgbClr>
              </a:gs>
              <a:gs pos="52000">
                <a:srgbClr val="F7F7F7">
                  <a:lumMod val="100000"/>
                  <a:alpha val="80000"/>
                </a:srgbClr>
              </a:gs>
              <a:gs pos="77000">
                <a:srgbClr val="F5F5F5">
                  <a:alpha val="40000"/>
                </a:srgbClr>
              </a:gs>
              <a:gs pos="100000">
                <a:schemeClr val="bg1">
                  <a:lumMod val="95000"/>
                  <a:alpha val="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2117558" y="274638"/>
            <a:ext cx="10796337" cy="706090"/>
          </a:xfrm>
        </p:spPr>
        <p:txBody>
          <a:bodyPr>
            <a:noAutofit/>
          </a:bodyPr>
          <a:lstStyle/>
          <a:p>
            <a:pPr algn="ctr"/>
            <a:r>
              <a:rPr lang="en-US" sz="5400" b="1" dirty="0">
                <a:latin typeface="Bahnschrift Condensed" panose="020B0502040204020203" pitchFamily="34" charset="0"/>
              </a:rPr>
              <a:t>Self-Attention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781E44B-8653-4E9F-A5F8-D44AB2563B8E}"/>
              </a:ext>
            </a:extLst>
          </p:cNvPr>
          <p:cNvSpPr txBox="1"/>
          <p:nvPr/>
        </p:nvSpPr>
        <p:spPr>
          <a:xfrm>
            <a:off x="721895" y="1620253"/>
            <a:ext cx="4780548" cy="372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/>
              <a:t>Matrix calculation of self-Attention</a:t>
            </a:r>
          </a:p>
          <a:p>
            <a:endParaRPr lang="en-IN" dirty="0"/>
          </a:p>
          <a:p>
            <a:r>
              <a:rPr lang="en-IN" dirty="0"/>
              <a:t>Step 1:-</a:t>
            </a:r>
          </a:p>
          <a:p>
            <a:endParaRPr lang="en-IN" dirty="0"/>
          </a:p>
          <a:p>
            <a:pPr algn="l" fontAlgn="base">
              <a:lnSpc>
                <a:spcPct val="200000"/>
              </a:lnSpc>
            </a:pPr>
            <a:r>
              <a:rPr lang="en-US" sz="1600" b="1" i="0" dirty="0">
                <a:solidFill>
                  <a:srgbClr val="22222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The first step</a:t>
            </a:r>
            <a:r>
              <a:rPr lang="en-US" sz="1600" b="0" i="0" dirty="0">
                <a:solidFill>
                  <a:srgbClr val="22222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 is to calculate the Query, Key, and Value matrices. We do that by packing our embeddings into a matrix </a:t>
            </a:r>
            <a:r>
              <a:rPr lang="en-US" sz="1600" b="0" i="0" dirty="0">
                <a:solidFill>
                  <a:srgbClr val="70BF4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600" b="0" i="0" dirty="0">
                <a:solidFill>
                  <a:srgbClr val="22222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, and multiplying it by the weight matrices we’ve trained (</a:t>
            </a:r>
            <a:r>
              <a:rPr lang="en-US" sz="1600" b="0" i="0" dirty="0">
                <a:solidFill>
                  <a:srgbClr val="B36AE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WQ</a:t>
            </a:r>
            <a:r>
              <a:rPr lang="en-US" sz="1600" b="0" i="0" dirty="0">
                <a:solidFill>
                  <a:srgbClr val="22222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, </a:t>
            </a:r>
            <a:r>
              <a:rPr lang="en-US" sz="1600" b="0" i="0" dirty="0">
                <a:solidFill>
                  <a:srgbClr val="F39019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WK</a:t>
            </a:r>
            <a:r>
              <a:rPr lang="en-US" sz="1600" b="0" i="0" dirty="0">
                <a:solidFill>
                  <a:srgbClr val="22222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, </a:t>
            </a:r>
            <a:r>
              <a:rPr lang="en-US" sz="1600" b="0" i="0" dirty="0">
                <a:solidFill>
                  <a:srgbClr val="5CBCE9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WV</a:t>
            </a:r>
            <a:r>
              <a:rPr lang="en-US" sz="1600" b="0" i="0" dirty="0">
                <a:solidFill>
                  <a:srgbClr val="22222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).</a:t>
            </a:r>
          </a:p>
          <a:p>
            <a:br>
              <a:rPr lang="en-US" dirty="0"/>
            </a:br>
            <a:endParaRPr lang="en-IN" dirty="0"/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89750ADC-C263-485F-8AAD-F9BAD8A528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1495" y="521368"/>
            <a:ext cx="7181260" cy="6256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64C8228-7492-8AEB-790B-745CD143844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645" b="100000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121780" y="0"/>
            <a:ext cx="1159691" cy="9822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020061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7710586" y="1012413"/>
            <a:ext cx="4350350" cy="685800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23000">
                <a:srgbClr val="FBFBFB">
                  <a:alpha val="99000"/>
                </a:srgbClr>
              </a:gs>
              <a:gs pos="52000">
                <a:srgbClr val="F7F7F7">
                  <a:lumMod val="100000"/>
                  <a:alpha val="80000"/>
                </a:srgbClr>
              </a:gs>
              <a:gs pos="77000">
                <a:srgbClr val="F5F5F5">
                  <a:alpha val="40000"/>
                </a:srgbClr>
              </a:gs>
              <a:gs pos="100000">
                <a:schemeClr val="bg1">
                  <a:lumMod val="95000"/>
                  <a:alpha val="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2117558" y="274638"/>
            <a:ext cx="10796337" cy="706090"/>
          </a:xfrm>
        </p:spPr>
        <p:txBody>
          <a:bodyPr>
            <a:noAutofit/>
          </a:bodyPr>
          <a:lstStyle/>
          <a:p>
            <a:pPr algn="ctr"/>
            <a:r>
              <a:rPr lang="en-US" sz="5400" b="1" dirty="0">
                <a:latin typeface="Bahnschrift Condensed" panose="020B0502040204020203" pitchFamily="34" charset="0"/>
              </a:rPr>
              <a:t>Positional Encoding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781E44B-8653-4E9F-A5F8-D44AB2563B8E}"/>
              </a:ext>
            </a:extLst>
          </p:cNvPr>
          <p:cNvSpPr txBox="1"/>
          <p:nvPr/>
        </p:nvSpPr>
        <p:spPr>
          <a:xfrm>
            <a:off x="721895" y="1620253"/>
            <a:ext cx="478054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22222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</a:t>
            </a:r>
            <a:r>
              <a:rPr lang="en-US" b="0" i="0" dirty="0">
                <a:solidFill>
                  <a:srgbClr val="22222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he transformer adds a vector to each input embedding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rgbClr val="22222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0" i="0" dirty="0">
              <a:solidFill>
                <a:srgbClr val="222222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2222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These vectors follow a specific pattern that the model learns, which helps it determine the position of each word,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rgbClr val="22222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2222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or the distance between different words in the sequence. </a:t>
            </a:r>
            <a:endParaRPr lang="en-IN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1CD212F7-78B0-4B36-99B7-91B1AF0E7F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143" y="503785"/>
            <a:ext cx="6184393" cy="6693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1DA443C-6BB8-B670-2866-A84A29FA9C7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645" b="100000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024860" y="12659"/>
            <a:ext cx="1159691" cy="9822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692861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Split_slide_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tomic_POWER_USER_SEPARATOR_ICONS_matter_POWER_USER_SEPARATOR_ICONS_particles_POWER_USER_SEPARATOR_ICONS_scienc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tomic_POWER_USER_SEPARATOR_ICONS_matter_POWER_USER_SEPARATOR_ICONS_particles_POWER_USER_SEPARATOR_ICONS_scienc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tomic_POWER_USER_SEPARATOR_ICONS_matter_POWER_USER_SEPARATOR_ICONS_particles_POWER_USER_SEPARATOR_ICONS_scienc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tomic_POWER_USER_SEPARATOR_ICONS_matter_POWER_USER_SEPARATOR_ICONS_particles_POWER_USER_SEPARATOR_ICONS_scienc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tomic_POWER_USER_SEPARATOR_ICONS_matter_POWER_USER_SEPARATOR_ICONS_particles_POWER_USER_SEPARATOR_ICONS_scienc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tomic_POWER_USER_SEPARATOR_ICONS_matter_POWER_USER_SEPARATOR_ICONS_particles_POWER_USER_SEPARATOR_ICONS_scienc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tomic_POWER_USER_SEPARATOR_ICONS_matter_POWER_USER_SEPARATOR_ICONS_particles_POWER_USER_SEPARATOR_ICONS_scienc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tomic_POWER_USER_SEPARATOR_ICONS_matter_POWER_USER_SEPARATOR_ICONS_particles_POWER_USER_SEPARATOR_ICONS_scienc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Split_slide_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tomic_POWER_USER_SEPARATOR_ICONS_matter_POWER_USER_SEPARATOR_ICONS_particles_POWER_USER_SEPARATOR_ICONS_scienc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tomic_POWER_USER_SEPARATOR_ICONS_matter_POWER_USER_SEPARATOR_ICONS_particles_POWER_USER_SEPARATOR_ICONS_scienc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5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World_with_icons_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Our_services_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Our_services_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Our_services_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Our_services_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onference_POWER_USER_SEPARATOR_ICONS_group-meeting_POWER_USER_SEPARATOR_ICONS_group-of-users_POWER_USER_SEPARATOR_ICONS_people_POWER_USER_SEPARATOR_ICONS_persons_POWER_USER_SEPARATOR_ICONS_user-meeting_POWER_USER_SEPARATOR_ICONS_users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Our_services_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Split_slide_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onference_POWER_USER_SEPARATOR_ICONS_group-meeting_POWER_USER_SEPARATOR_ICONS_group-of-users_POWER_USER_SEPARATOR_ICONS_people_POWER_USER_SEPARATOR_ICONS_persons_POWER_USER_SEPARATOR_ICONS_user-meeting_POWER_USER_SEPARATOR_ICONS_user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onference_POWER_USER_SEPARATOR_ICONS_group-meeting_POWER_USER_SEPARATOR_ICONS_group-of-users_POWER_USER_SEPARATOR_ICONS_people_POWER_USER_SEPARATOR_ICONS_persons_POWER_USER_SEPARATOR_ICONS_user-meeting_POWER_USER_SEPARATOR_ICONS_user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onference_POWER_USER_SEPARATOR_ICONS_group-meeting_POWER_USER_SEPARATOR_ICONS_group-of-users_POWER_USER_SEPARATOR_ICONS_people_POWER_USER_SEPARATOR_ICONS_persons_POWER_USER_SEPARATOR_ICONS_user-meeting_POWER_USER_SEPARATOR_ICONS_user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onference_POWER_USER_SEPARATOR_ICONS_group-meeting_POWER_USER_SEPARATOR_ICONS_group-of-users_POWER_USER_SEPARATOR_ICONS_people_POWER_USER_SEPARATOR_ICONS_persons_POWER_USER_SEPARATOR_ICONS_user-meeting_POWER_USER_SEPARATOR_ICONS_users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Our_services_1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Retrospect">
  <a:themeElements>
    <a:clrScheme name="Retrospect">
      <a:dk1>
        <a:srgbClr val="000000"/>
      </a:dk1>
      <a:lt1>
        <a:sysClr val="window" lastClr="FFFFFF"/>
      </a:lt1>
      <a:dk2>
        <a:srgbClr val="637052"/>
      </a:dk2>
      <a:lt2>
        <a:srgbClr val="CCDDEA"/>
      </a:lt2>
      <a:accent1>
        <a:srgbClr val="E48312"/>
      </a:accent1>
      <a:accent2>
        <a:srgbClr val="BD582C"/>
      </a:accent2>
      <a:accent3>
        <a:srgbClr val="865640"/>
      </a:accent3>
      <a:accent4>
        <a:srgbClr val="9B8357"/>
      </a:accent4>
      <a:accent5>
        <a:srgbClr val="C2BC80"/>
      </a:accent5>
      <a:accent6>
        <a:srgbClr val="94A088"/>
      </a:accent6>
      <a:hlink>
        <a:srgbClr val="2998E3"/>
      </a:hlink>
      <a:folHlink>
        <a:srgbClr val="8C8C8C"/>
      </a:folHlink>
    </a:clrScheme>
    <a:fontScheme name="Retrospect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3F1AAB62-24C6-49D2-8E01-B56FAC9A3DC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76</TotalTime>
  <Words>1194</Words>
  <Application>Microsoft Office PowerPoint</Application>
  <PresentationFormat>Widescreen</PresentationFormat>
  <Paragraphs>128</Paragraphs>
  <Slides>16</Slides>
  <Notes>12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6</vt:i4>
      </vt:variant>
    </vt:vector>
  </HeadingPairs>
  <TitlesOfParts>
    <vt:vector size="28" baseType="lpstr">
      <vt:lpstr>Aharoni</vt:lpstr>
      <vt:lpstr>Arial</vt:lpstr>
      <vt:lpstr>Arial</vt:lpstr>
      <vt:lpstr>Bahnschrift</vt:lpstr>
      <vt:lpstr>Bahnschrift Condensed</vt:lpstr>
      <vt:lpstr>Calibri</vt:lpstr>
      <vt:lpstr>Calibri Light</vt:lpstr>
      <vt:lpstr>Cambria</vt:lpstr>
      <vt:lpstr>Symbol</vt:lpstr>
      <vt:lpstr>Times New Roman</vt:lpstr>
      <vt:lpstr>1_Office Theme</vt:lpstr>
      <vt:lpstr>Retrospect</vt:lpstr>
      <vt:lpstr>Language Translation-Transformer Based Model</vt:lpstr>
      <vt:lpstr>Need of the Project</vt:lpstr>
      <vt:lpstr>Entropy</vt:lpstr>
      <vt:lpstr> What is The Transformer???</vt:lpstr>
      <vt:lpstr>Why transformer over other modules.</vt:lpstr>
      <vt:lpstr>A High-Level Look</vt:lpstr>
      <vt:lpstr>Encoder</vt:lpstr>
      <vt:lpstr>Self-Attention </vt:lpstr>
      <vt:lpstr>Positional Encoding</vt:lpstr>
      <vt:lpstr>PowerPoint Presentation</vt:lpstr>
      <vt:lpstr>Decoder</vt:lpstr>
      <vt:lpstr>Tools Used:-</vt:lpstr>
      <vt:lpstr>Modules</vt:lpstr>
      <vt:lpstr>Sample Output</vt:lpstr>
      <vt:lpstr>Future Scope of the Project</vt:lpstr>
      <vt:lpstr>             THANK YOU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nsformer based attention  model</dc:title>
  <dc:creator>ayushi kumari</dc:creator>
  <cp:lastModifiedBy>Ayushi kumari</cp:lastModifiedBy>
  <cp:revision>7</cp:revision>
  <dcterms:created xsi:type="dcterms:W3CDTF">2022-01-04T16:07:43Z</dcterms:created>
  <dcterms:modified xsi:type="dcterms:W3CDTF">2022-06-06T15:29:58Z</dcterms:modified>
</cp:coreProperties>
</file>